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6" r:id="rId3"/>
    <p:sldMasterId id="2147483825" r:id="rId4"/>
    <p:sldMasterId id="2147483853" r:id="rId5"/>
    <p:sldMasterId id="2147483867" r:id="rId6"/>
    <p:sldMasterId id="2147483875" r:id="rId7"/>
  </p:sldMasterIdLst>
  <p:notesMasterIdLst>
    <p:notesMasterId r:id="rId97"/>
  </p:notesMasterIdLst>
  <p:handoutMasterIdLst>
    <p:handoutMasterId r:id="rId98"/>
  </p:handoutMasterIdLst>
  <p:sldIdLst>
    <p:sldId id="256" r:id="rId8"/>
    <p:sldId id="427" r:id="rId9"/>
    <p:sldId id="395" r:id="rId10"/>
    <p:sldId id="353" r:id="rId11"/>
    <p:sldId id="354" r:id="rId12"/>
    <p:sldId id="355" r:id="rId13"/>
    <p:sldId id="435" r:id="rId14"/>
    <p:sldId id="396" r:id="rId15"/>
    <p:sldId id="397" r:id="rId16"/>
    <p:sldId id="398" r:id="rId17"/>
    <p:sldId id="411" r:id="rId18"/>
    <p:sldId id="414" r:id="rId19"/>
    <p:sldId id="358" r:id="rId20"/>
    <p:sldId id="413" r:id="rId21"/>
    <p:sldId id="399" r:id="rId22"/>
    <p:sldId id="428" r:id="rId23"/>
    <p:sldId id="401" r:id="rId24"/>
    <p:sldId id="387" r:id="rId25"/>
    <p:sldId id="402" r:id="rId26"/>
    <p:sldId id="403" r:id="rId27"/>
    <p:sldId id="404" r:id="rId28"/>
    <p:sldId id="405" r:id="rId29"/>
    <p:sldId id="406" r:id="rId30"/>
    <p:sldId id="407" r:id="rId31"/>
    <p:sldId id="408" r:id="rId32"/>
    <p:sldId id="409" r:id="rId33"/>
    <p:sldId id="410" r:id="rId34"/>
    <p:sldId id="421" r:id="rId35"/>
    <p:sldId id="412" r:id="rId36"/>
    <p:sldId id="429" r:id="rId37"/>
    <p:sldId id="430" r:id="rId38"/>
    <p:sldId id="372" r:id="rId39"/>
    <p:sldId id="363" r:id="rId40"/>
    <p:sldId id="417" r:id="rId41"/>
    <p:sldId id="362" r:id="rId42"/>
    <p:sldId id="418" r:id="rId43"/>
    <p:sldId id="365" r:id="rId44"/>
    <p:sldId id="367" r:id="rId45"/>
    <p:sldId id="366" r:id="rId46"/>
    <p:sldId id="419" r:id="rId47"/>
    <p:sldId id="420" r:id="rId48"/>
    <p:sldId id="426" r:id="rId49"/>
    <p:sldId id="431" r:id="rId50"/>
    <p:sldId id="432" r:id="rId51"/>
    <p:sldId id="374" r:id="rId52"/>
    <p:sldId id="436" r:id="rId53"/>
    <p:sldId id="437" r:id="rId54"/>
    <p:sldId id="438" r:id="rId55"/>
    <p:sldId id="439" r:id="rId56"/>
    <p:sldId id="441" r:id="rId57"/>
    <p:sldId id="442" r:id="rId58"/>
    <p:sldId id="443" r:id="rId59"/>
    <p:sldId id="461" r:id="rId60"/>
    <p:sldId id="444" r:id="rId61"/>
    <p:sldId id="422" r:id="rId62"/>
    <p:sldId id="445" r:id="rId63"/>
    <p:sldId id="423" r:id="rId64"/>
    <p:sldId id="433" r:id="rId65"/>
    <p:sldId id="425" r:id="rId66"/>
    <p:sldId id="446" r:id="rId67"/>
    <p:sldId id="424" r:id="rId68"/>
    <p:sldId id="449" r:id="rId69"/>
    <p:sldId id="448" r:id="rId70"/>
    <p:sldId id="416" r:id="rId71"/>
    <p:sldId id="390" r:id="rId72"/>
    <p:sldId id="452" r:id="rId73"/>
    <p:sldId id="453" r:id="rId74"/>
    <p:sldId id="454" r:id="rId75"/>
    <p:sldId id="455" r:id="rId76"/>
    <p:sldId id="456" r:id="rId77"/>
    <p:sldId id="457" r:id="rId78"/>
    <p:sldId id="458" r:id="rId79"/>
    <p:sldId id="459" r:id="rId80"/>
    <p:sldId id="450" r:id="rId81"/>
    <p:sldId id="451" r:id="rId82"/>
    <p:sldId id="375" r:id="rId83"/>
    <p:sldId id="460" r:id="rId84"/>
    <p:sldId id="377" r:id="rId85"/>
    <p:sldId id="389" r:id="rId86"/>
    <p:sldId id="469" r:id="rId87"/>
    <p:sldId id="392" r:id="rId88"/>
    <p:sldId id="468" r:id="rId89"/>
    <p:sldId id="466" r:id="rId90"/>
    <p:sldId id="467" r:id="rId91"/>
    <p:sldId id="462" r:id="rId92"/>
    <p:sldId id="463" r:id="rId93"/>
    <p:sldId id="464" r:id="rId94"/>
    <p:sldId id="465" r:id="rId95"/>
    <p:sldId id="394" r:id="rId96"/>
  </p:sldIdLst>
  <p:sldSz cx="9144000" cy="5143500" type="screen16x9"/>
  <p:notesSz cx="6797675" cy="9926638"/>
  <p:defaultTextStyle>
    <a:defPPr>
      <a:defRPr lang="de-DE"/>
    </a:defPPr>
    <a:lvl1pPr algn="l" defTabSz="388938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388938" indent="68263" algn="l" defTabSz="388938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777875" indent="136525" algn="l" defTabSz="388938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168400" indent="203200" algn="l" defTabSz="388938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557338" indent="271463" algn="l" defTabSz="388938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6BC4FCC-9D68-184D-9E01-7CC0FE9F8831}">
          <p14:sldIdLst>
            <p14:sldId id="256"/>
            <p14:sldId id="427"/>
            <p14:sldId id="395"/>
            <p14:sldId id="353"/>
            <p14:sldId id="354"/>
            <p14:sldId id="355"/>
            <p14:sldId id="435"/>
            <p14:sldId id="396"/>
            <p14:sldId id="397"/>
            <p14:sldId id="398"/>
            <p14:sldId id="411"/>
            <p14:sldId id="414"/>
            <p14:sldId id="358"/>
            <p14:sldId id="413"/>
            <p14:sldId id="399"/>
            <p14:sldId id="428"/>
            <p14:sldId id="401"/>
            <p14:sldId id="387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10"/>
            <p14:sldId id="421"/>
            <p14:sldId id="412"/>
            <p14:sldId id="429"/>
            <p14:sldId id="430"/>
            <p14:sldId id="372"/>
            <p14:sldId id="363"/>
            <p14:sldId id="417"/>
            <p14:sldId id="362"/>
            <p14:sldId id="418"/>
            <p14:sldId id="365"/>
            <p14:sldId id="367"/>
            <p14:sldId id="366"/>
            <p14:sldId id="419"/>
            <p14:sldId id="420"/>
            <p14:sldId id="426"/>
            <p14:sldId id="431"/>
            <p14:sldId id="432"/>
            <p14:sldId id="374"/>
            <p14:sldId id="436"/>
            <p14:sldId id="437"/>
            <p14:sldId id="438"/>
            <p14:sldId id="439"/>
            <p14:sldId id="441"/>
            <p14:sldId id="442"/>
            <p14:sldId id="443"/>
            <p14:sldId id="461"/>
            <p14:sldId id="444"/>
            <p14:sldId id="422"/>
            <p14:sldId id="445"/>
            <p14:sldId id="423"/>
            <p14:sldId id="433"/>
            <p14:sldId id="425"/>
            <p14:sldId id="446"/>
            <p14:sldId id="424"/>
            <p14:sldId id="449"/>
            <p14:sldId id="448"/>
            <p14:sldId id="416"/>
            <p14:sldId id="390"/>
            <p14:sldId id="452"/>
            <p14:sldId id="453"/>
            <p14:sldId id="454"/>
            <p14:sldId id="455"/>
            <p14:sldId id="456"/>
            <p14:sldId id="457"/>
            <p14:sldId id="458"/>
            <p14:sldId id="459"/>
            <p14:sldId id="450"/>
            <p14:sldId id="451"/>
            <p14:sldId id="375"/>
            <p14:sldId id="460"/>
            <p14:sldId id="377"/>
            <p14:sldId id="389"/>
            <p14:sldId id="469"/>
            <p14:sldId id="392"/>
            <p14:sldId id="468"/>
            <p14:sldId id="466"/>
            <p14:sldId id="467"/>
            <p14:sldId id="462"/>
            <p14:sldId id="463"/>
            <p14:sldId id="464"/>
            <p14:sldId id="465"/>
            <p14:sldId id="3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0">
          <p15:clr>
            <a:srgbClr val="A4A3A4"/>
          </p15:clr>
        </p15:guide>
        <p15:guide id="2" orient="horz" pos="78">
          <p15:clr>
            <a:srgbClr val="A4A3A4"/>
          </p15:clr>
        </p15:guide>
        <p15:guide id="3" orient="horz" pos="829">
          <p15:clr>
            <a:srgbClr val="A4A3A4"/>
          </p15:clr>
        </p15:guide>
        <p15:guide id="4" orient="horz" pos="3117">
          <p15:clr>
            <a:srgbClr val="A4A3A4"/>
          </p15:clr>
        </p15:guide>
        <p15:guide id="5" orient="horz" pos="198">
          <p15:clr>
            <a:srgbClr val="A4A3A4"/>
          </p15:clr>
        </p15:guide>
        <p15:guide id="6" orient="horz" pos="2981">
          <p15:clr>
            <a:srgbClr val="A4A3A4"/>
          </p15:clr>
        </p15:guide>
        <p15:guide id="7" pos="5561">
          <p15:clr>
            <a:srgbClr val="A4A3A4"/>
          </p15:clr>
        </p15:guide>
        <p15:guide id="8" pos="2750">
          <p15:clr>
            <a:srgbClr val="A4A3A4"/>
          </p15:clr>
        </p15:guide>
        <p15:guide id="9" pos="1500">
          <p15:clr>
            <a:srgbClr val="A4A3A4"/>
          </p15:clr>
        </p15:guide>
        <p15:guide id="10" pos="2848">
          <p15:clr>
            <a:srgbClr val="A4A3A4"/>
          </p15:clr>
        </p15:guide>
        <p15:guide id="11" pos="229">
          <p15:clr>
            <a:srgbClr val="A4A3A4"/>
          </p15:clr>
        </p15:guide>
        <p15:guide id="12" pos="4218">
          <p15:clr>
            <a:srgbClr val="A4A3A4"/>
          </p15:clr>
        </p15:guide>
        <p15:guide id="13" pos="4105">
          <p15:clr>
            <a:srgbClr val="A4A3A4"/>
          </p15:clr>
        </p15:guide>
        <p15:guide id="14" pos="1391">
          <p15:clr>
            <a:srgbClr val="A4A3A4"/>
          </p15:clr>
        </p15:guide>
        <p15:guide id="15" orient="horz" pos="395">
          <p15:clr>
            <a:srgbClr val="A4A3A4"/>
          </p15:clr>
        </p15:guide>
        <p15:guide id="16" orient="horz" pos="758">
          <p15:clr>
            <a:srgbClr val="A4A3A4"/>
          </p15:clr>
        </p15:guide>
        <p15:guide id="17" orient="horz" pos="214">
          <p15:clr>
            <a:srgbClr val="A4A3A4"/>
          </p15:clr>
        </p15:guide>
        <p15:guide id="18" orient="horz" pos="1801">
          <p15:clr>
            <a:srgbClr val="A4A3A4"/>
          </p15:clr>
        </p15:guide>
        <p15:guide id="19" orient="horz" pos="1892">
          <p15:clr>
            <a:srgbClr val="A4A3A4"/>
          </p15:clr>
        </p15:guide>
        <p15:guide id="20" pos="5602">
          <p15:clr>
            <a:srgbClr val="A4A3A4"/>
          </p15:clr>
        </p15:guide>
        <p15:guide id="21" pos="2835">
          <p15:clr>
            <a:srgbClr val="A4A3A4"/>
          </p15:clr>
        </p15:guide>
        <p15:guide id="22" pos="1610">
          <p15:clr>
            <a:srgbClr val="A4A3A4"/>
          </p15:clr>
        </p15:guide>
        <p15:guide id="23" pos="2971">
          <p15:clr>
            <a:srgbClr val="A4A3A4"/>
          </p15:clr>
        </p15:guide>
        <p15:guide id="24" pos="204">
          <p15:clr>
            <a:srgbClr val="A4A3A4"/>
          </p15:clr>
        </p15:guide>
        <p15:guide id="25" pos="4332">
          <p15:clr>
            <a:srgbClr val="A4A3A4"/>
          </p15:clr>
        </p15:guide>
        <p15:guide id="26" pos="4195">
          <p15:clr>
            <a:srgbClr val="A4A3A4"/>
          </p15:clr>
        </p15:guide>
        <p15:guide id="27" pos="1474">
          <p15:clr>
            <a:srgbClr val="A4A3A4"/>
          </p15:clr>
        </p15:guide>
        <p15:guide id="28" pos="446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irschel, Jonathan" initials="BJ" lastIdx="70" clrIdx="0"/>
  <p:cmAuthor id="7" name="Meriem Tazir" initials="MT [7]" lastIdx="1" clrIdx="7">
    <p:extLst/>
  </p:cmAuthor>
  <p:cmAuthor id="1" name="Meriem Tazir" initials="MT" lastIdx="4" clrIdx="1">
    <p:extLst/>
  </p:cmAuthor>
  <p:cmAuthor id="8" name="Meriem Tazir" initials="MT [8]" lastIdx="1" clrIdx="8">
    <p:extLst/>
  </p:cmAuthor>
  <p:cmAuthor id="2" name="Meriem Tazir" initials="MT [2]" lastIdx="1" clrIdx="2">
    <p:extLst/>
  </p:cmAuthor>
  <p:cmAuthor id="3" name="Meriem Tazir" initials="MT [3]" lastIdx="1" clrIdx="3">
    <p:extLst/>
  </p:cmAuthor>
  <p:cmAuthor id="4" name="Meriem Tazir" initials="MT [4]" lastIdx="1" clrIdx="4">
    <p:extLst/>
  </p:cmAuthor>
  <p:cmAuthor id="5" name="Meriem Tazir" initials="MT [5]" lastIdx="1" clrIdx="5">
    <p:extLst/>
  </p:cmAuthor>
  <p:cmAuthor id="6" name="Meriem Tazir" initials="MT [6]" lastIdx="1" clrIdx="6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8C00"/>
    <a:srgbClr val="FFB800"/>
    <a:srgbClr val="FBFBFB"/>
    <a:srgbClr val="000100"/>
    <a:srgbClr val="FFC021"/>
    <a:srgbClr val="D29600"/>
    <a:srgbClr val="FFE093"/>
    <a:srgbClr val="F6B000"/>
    <a:srgbClr val="A27400"/>
    <a:srgbClr val="765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92" autoAdjust="0"/>
    <p:restoredTop sz="87293" autoAdjust="0"/>
  </p:normalViewPr>
  <p:slideViewPr>
    <p:cSldViewPr snapToObjects="1" showGuides="1">
      <p:cViewPr>
        <p:scale>
          <a:sx n="66" d="100"/>
          <a:sy n="66" d="100"/>
        </p:scale>
        <p:origin x="946" y="1368"/>
      </p:cViewPr>
      <p:guideLst>
        <p:guide orient="horz" pos="410"/>
        <p:guide orient="horz" pos="78"/>
        <p:guide orient="horz" pos="829"/>
        <p:guide orient="horz" pos="3117"/>
        <p:guide orient="horz" pos="198"/>
        <p:guide orient="horz" pos="2981"/>
        <p:guide pos="5561"/>
        <p:guide pos="2750"/>
        <p:guide pos="1500"/>
        <p:guide pos="2848"/>
        <p:guide pos="229"/>
        <p:guide pos="4218"/>
        <p:guide pos="4105"/>
        <p:guide pos="1391"/>
        <p:guide orient="horz" pos="395"/>
        <p:guide orient="horz" pos="758"/>
        <p:guide orient="horz" pos="214"/>
        <p:guide orient="horz" pos="1801"/>
        <p:guide orient="horz" pos="1892"/>
        <p:guide pos="5602"/>
        <p:guide pos="2835"/>
        <p:guide pos="1610"/>
        <p:guide pos="2971"/>
        <p:guide pos="204"/>
        <p:guide pos="4332"/>
        <p:guide pos="4195"/>
        <p:guide pos="1474"/>
        <p:guide pos="44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60" d="100"/>
        <a:sy n="160" d="100"/>
      </p:scale>
      <p:origin x="0" y="302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84" Type="http://schemas.openxmlformats.org/officeDocument/2006/relationships/slide" Target="slides/slide77.xml"/><Relationship Id="rId89" Type="http://schemas.openxmlformats.org/officeDocument/2006/relationships/slide" Target="slides/slide82.xml"/><Relationship Id="rId7" Type="http://schemas.openxmlformats.org/officeDocument/2006/relationships/slideMaster" Target="slideMasters/slideMaster5.xml"/><Relationship Id="rId71" Type="http://schemas.openxmlformats.org/officeDocument/2006/relationships/slide" Target="slides/slide64.xml"/><Relationship Id="rId92" Type="http://schemas.openxmlformats.org/officeDocument/2006/relationships/slide" Target="slides/slide85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66" Type="http://schemas.openxmlformats.org/officeDocument/2006/relationships/slide" Target="slides/slide59.xml"/><Relationship Id="rId74" Type="http://schemas.openxmlformats.org/officeDocument/2006/relationships/slide" Target="slides/slide67.xml"/><Relationship Id="rId79" Type="http://schemas.openxmlformats.org/officeDocument/2006/relationships/slide" Target="slides/slide72.xml"/><Relationship Id="rId87" Type="http://schemas.openxmlformats.org/officeDocument/2006/relationships/slide" Target="slides/slide80.xml"/><Relationship Id="rId102" Type="http://schemas.openxmlformats.org/officeDocument/2006/relationships/theme" Target="theme/theme1.xml"/><Relationship Id="rId5" Type="http://schemas.openxmlformats.org/officeDocument/2006/relationships/slideMaster" Target="slideMasters/slideMaster3.xml"/><Relationship Id="rId61" Type="http://schemas.openxmlformats.org/officeDocument/2006/relationships/slide" Target="slides/slide54.xml"/><Relationship Id="rId82" Type="http://schemas.openxmlformats.org/officeDocument/2006/relationships/slide" Target="slides/slide75.xml"/><Relationship Id="rId90" Type="http://schemas.openxmlformats.org/officeDocument/2006/relationships/slide" Target="slides/slide83.xml"/><Relationship Id="rId95" Type="http://schemas.openxmlformats.org/officeDocument/2006/relationships/slide" Target="slides/slide88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77" Type="http://schemas.openxmlformats.org/officeDocument/2006/relationships/slide" Target="slides/slide70.xml"/><Relationship Id="rId100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80" Type="http://schemas.openxmlformats.org/officeDocument/2006/relationships/slide" Target="slides/slide73.xml"/><Relationship Id="rId85" Type="http://schemas.openxmlformats.org/officeDocument/2006/relationships/slide" Target="slides/slide78.xml"/><Relationship Id="rId93" Type="http://schemas.openxmlformats.org/officeDocument/2006/relationships/slide" Target="slides/slide86.xml"/><Relationship Id="rId98" Type="http://schemas.openxmlformats.org/officeDocument/2006/relationships/handoutMaster" Target="handoutMasters/handoutMaster1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103" Type="http://schemas.openxmlformats.org/officeDocument/2006/relationships/tableStyles" Target="tableStyles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83" Type="http://schemas.openxmlformats.org/officeDocument/2006/relationships/slide" Target="slides/slide76.xml"/><Relationship Id="rId88" Type="http://schemas.openxmlformats.org/officeDocument/2006/relationships/slide" Target="slides/slide81.xml"/><Relationship Id="rId91" Type="http://schemas.openxmlformats.org/officeDocument/2006/relationships/slide" Target="slides/slide84.xml"/><Relationship Id="rId96" Type="http://schemas.openxmlformats.org/officeDocument/2006/relationships/slide" Target="slides/slide8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slide" Target="slides/slide66.xml"/><Relationship Id="rId78" Type="http://schemas.openxmlformats.org/officeDocument/2006/relationships/slide" Target="slides/slide71.xml"/><Relationship Id="rId81" Type="http://schemas.openxmlformats.org/officeDocument/2006/relationships/slide" Target="slides/slide74.xml"/><Relationship Id="rId86" Type="http://schemas.openxmlformats.org/officeDocument/2006/relationships/slide" Target="slides/slide79.xml"/><Relationship Id="rId94" Type="http://schemas.openxmlformats.org/officeDocument/2006/relationships/slide" Target="slides/slide87.xml"/><Relationship Id="rId99" Type="http://schemas.openxmlformats.org/officeDocument/2006/relationships/commentAuthors" Target="commentAuthors.xml"/><Relationship Id="rId101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slide" Target="slides/slide69.xml"/><Relationship Id="rId97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monica.pina\AppData\Local\Microsoft\Windows\Temporary%20Internet%20Files\Content.Outlook\A2DEA259\Pasta1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lan1!$H$1</c:f>
              <c:strCache>
                <c:ptCount val="1"/>
                <c:pt idx="0">
                  <c:v>Aspectos considerados no Planejamento de Projetos</c:v>
                </c:pt>
              </c:strCache>
            </c:strRef>
          </c:tx>
          <c:invertIfNegative val="0"/>
          <c:dLbls>
            <c:dLbl>
              <c:idx val="1"/>
              <c:layout>
                <c:manualLayout>
                  <c:x val="7.4879591994664093E-3"/>
                  <c:y val="-1.2647601449495406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AEB-417E-B288-BE6520D62F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G$2:$G$10</c:f>
              <c:strCache>
                <c:ptCount val="9"/>
                <c:pt idx="0">
                  <c:v>Risco</c:v>
                </c:pt>
                <c:pt idx="1">
                  <c:v>Comunicação</c:v>
                </c:pt>
                <c:pt idx="2">
                  <c:v>Integração</c:v>
                </c:pt>
                <c:pt idx="3">
                  <c:v>Aquisições/Contratos</c:v>
                </c:pt>
                <c:pt idx="4">
                  <c:v>Qualidade</c:v>
                </c:pt>
                <c:pt idx="5">
                  <c:v>Recursos Humanos</c:v>
                </c:pt>
                <c:pt idx="6">
                  <c:v>Custo</c:v>
                </c:pt>
                <c:pt idx="7">
                  <c:v>Escopo</c:v>
                </c:pt>
                <c:pt idx="8">
                  <c:v>Prazo</c:v>
                </c:pt>
              </c:strCache>
            </c:strRef>
          </c:cat>
          <c:val>
            <c:numRef>
              <c:f>Plan1!$H$2:$H$10</c:f>
              <c:numCache>
                <c:formatCode>0%</c:formatCode>
                <c:ptCount val="9"/>
                <c:pt idx="0">
                  <c:v>0.36000000000000032</c:v>
                </c:pt>
                <c:pt idx="1">
                  <c:v>0.37000000000000038</c:v>
                </c:pt>
                <c:pt idx="2">
                  <c:v>0.5</c:v>
                </c:pt>
                <c:pt idx="3">
                  <c:v>0.51</c:v>
                </c:pt>
                <c:pt idx="4">
                  <c:v>0.52</c:v>
                </c:pt>
                <c:pt idx="5">
                  <c:v>0.60000000000000064</c:v>
                </c:pt>
                <c:pt idx="6">
                  <c:v>0.72000000000000064</c:v>
                </c:pt>
                <c:pt idx="7">
                  <c:v>0.98</c:v>
                </c:pt>
                <c:pt idx="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EB-417E-B288-BE6520D62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7243584"/>
        <c:axId val="107244144"/>
      </c:barChart>
      <c:catAx>
        <c:axId val="10724358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107244144"/>
        <c:crosses val="autoZero"/>
        <c:auto val="1"/>
        <c:lblAlgn val="ctr"/>
        <c:lblOffset val="100"/>
        <c:noMultiLvlLbl val="0"/>
      </c:catAx>
      <c:valAx>
        <c:axId val="107244144"/>
        <c:scaling>
          <c:orientation val="minMax"/>
        </c:scaling>
        <c:delete val="0"/>
        <c:axPos val="b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072435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>
          <a:latin typeface="Verdana" pitchFamily="34" charset="0"/>
          <a:ea typeface="Verdana" pitchFamily="34" charset="0"/>
          <a:cs typeface="Verdana" pitchFamily="34" charset="0"/>
        </a:defRPr>
      </a:pPr>
      <a:endParaRPr lang="en-US"/>
    </a:p>
  </c:txPr>
  <c:externalData r:id="rId2">
    <c:autoUpdate val="0"/>
  </c:externalData>
  <c:userShapes r:id="rId3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9B9CB6-03D3-4C46-8EFD-7B46DE020F67}" type="doc">
      <dgm:prSet loTypeId="urn:microsoft.com/office/officeart/2005/8/layout/orgChart1" loCatId="hierarchy" qsTypeId="urn:microsoft.com/office/officeart/2005/8/quickstyle/3d1" qsCatId="3D" csTypeId="urn:microsoft.com/office/officeart/2005/8/colors/accent0_3" csCatId="mainScheme" phldr="1"/>
      <dgm:spPr/>
      <dgm:t>
        <a:bodyPr/>
        <a:lstStyle/>
        <a:p>
          <a:endParaRPr lang="pt-BR"/>
        </a:p>
      </dgm:t>
    </dgm:pt>
    <dgm:pt modelId="{9ACCA313-1D45-4B46-9C3B-D770C55AABA3}">
      <dgm:prSet phldrT="[Texto]" custT="1"/>
      <dgm:spPr>
        <a:xfrm>
          <a:off x="3459685" y="570567"/>
          <a:ext cx="1508519" cy="1075710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b="1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PROJETO: Desenvolvimento de software</a:t>
          </a:r>
          <a:endParaRPr lang="pt-BR" sz="1100" dirty="0">
            <a:solidFill>
              <a:sysClr val="window" lastClr="FFFFFF"/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gm:t>
    </dgm:pt>
    <dgm:pt modelId="{62D1A1F6-546E-44AE-8B26-936838195A5D}" type="parTrans" cxnId="{E50FD354-B6BF-4051-8507-027DFCA2909F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DC35878E-7371-4C0D-9F2E-9E7165E50BFC}" type="sibTrans" cxnId="{E50FD354-B6BF-4051-8507-027DFCA2909F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044064EA-4B97-4511-8678-D835E04968D1}">
      <dgm:prSet custT="1"/>
      <dgm:spPr>
        <a:xfrm>
          <a:off x="481" y="1855074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Iniciação</a:t>
          </a:r>
        </a:p>
      </dgm:t>
    </dgm:pt>
    <dgm:pt modelId="{B85EDDB7-2892-4D05-8590-0FC38384E299}" type="parTrans" cxnId="{DC92BCA8-AD79-4D07-B9C3-A0D546F0BA65}">
      <dgm:prSet/>
      <dgm:spPr>
        <a:xfrm>
          <a:off x="497613" y="1646278"/>
          <a:ext cx="3716330" cy="208795"/>
        </a:xfrm>
        <a:custGeom>
          <a:avLst/>
          <a:gdLst/>
          <a:ahLst/>
          <a:cxnLst/>
          <a:rect l="0" t="0" r="0" b="0"/>
          <a:pathLst>
            <a:path>
              <a:moveTo>
                <a:pt x="2704895" y="0"/>
              </a:moveTo>
              <a:lnTo>
                <a:pt x="2704895" y="75984"/>
              </a:lnTo>
              <a:lnTo>
                <a:pt x="0" y="75984"/>
              </a:lnTo>
              <a:lnTo>
                <a:pt x="0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C3694CDA-A8A2-4C5E-9EA5-E2D2428FE9C4}" type="sibTrans" cxnId="{DC92BCA8-AD79-4D07-B9C3-A0D546F0BA65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0CB8F3F-993A-42DD-A0FC-20AD87E0E00A}">
      <dgm:prSet custT="1"/>
      <dgm:spPr>
        <a:xfrm>
          <a:off x="249047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Designação de responsável</a:t>
          </a:r>
        </a:p>
      </dgm:t>
    </dgm:pt>
    <dgm:pt modelId="{7EACB5AC-7A9B-4D9F-AF05-FAE33AB51D81}" type="parTrans" cxnId="{69684A27-D809-40B4-BD4B-6D8682568763}">
      <dgm:prSet/>
      <dgm:spPr>
        <a:xfrm>
          <a:off x="99907" y="2352206"/>
          <a:ext cx="149139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8FC7460-E300-4205-A01C-D53801DC11AA}" type="sibTrans" cxnId="{69684A27-D809-40B4-BD4B-6D8682568763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19E75CC8-BEAD-40AE-B2B8-A087FE8DB935}">
      <dgm:prSet custT="1"/>
      <dgm:spPr>
        <a:xfrm>
          <a:off x="249047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Preparo do Termo de Abertura</a:t>
          </a:r>
        </a:p>
      </dgm:t>
    </dgm:pt>
    <dgm:pt modelId="{8C7F6E98-2137-4D37-898A-FD3FD8CFBCE5}" type="parTrans" cxnId="{511EFFD3-3471-47D5-B3ED-97654CE9E069}">
      <dgm:prSet/>
      <dgm:spPr>
        <a:xfrm>
          <a:off x="99907" y="2352206"/>
          <a:ext cx="149139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DA53DD4-2ABE-42E1-8A14-0D212C233AFA}" type="sibTrans" cxnId="{511EFFD3-3471-47D5-B3ED-97654CE9E069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9D35C064-1BE1-4A7A-AB45-023F36D1214D}">
      <dgm:prSet custT="1"/>
      <dgm:spPr>
        <a:xfrm>
          <a:off x="249047" y="3972859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Identificação de Interessados</a:t>
          </a:r>
        </a:p>
      </dgm:t>
    </dgm:pt>
    <dgm:pt modelId="{5853802A-B9D5-4FEC-9FB7-D3B9C38F81D1}" type="parTrans" cxnId="{3D4C3B13-2126-4F06-8489-0017FDE19C55}">
      <dgm:prSet/>
      <dgm:spPr>
        <a:xfrm>
          <a:off x="99907" y="2352206"/>
          <a:ext cx="149139" cy="18692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493"/>
              </a:lnTo>
              <a:lnTo>
                <a:pt x="108549" y="1360493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2C39774-337B-44AC-B85E-9AD6BB3620A4}" type="sibTrans" cxnId="{3D4C3B13-2126-4F06-8489-0017FDE19C55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DBB144B-03B7-4B87-8194-084058D42CA3}">
      <dgm:prSet custT="1"/>
      <dgm:spPr>
        <a:xfrm>
          <a:off x="1203542" y="1855074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Definição</a:t>
          </a:r>
        </a:p>
      </dgm:t>
    </dgm:pt>
    <dgm:pt modelId="{A71BDF02-919A-4460-9FA5-D2449C0ECD25}" type="parTrans" cxnId="{050F605A-7F11-4D44-B70D-5CB38B1F44FB}">
      <dgm:prSet/>
      <dgm:spPr>
        <a:xfrm>
          <a:off x="1700675" y="1646278"/>
          <a:ext cx="2513269" cy="208795"/>
        </a:xfrm>
        <a:custGeom>
          <a:avLst/>
          <a:gdLst/>
          <a:ahLst/>
          <a:cxnLst/>
          <a:rect l="0" t="0" r="0" b="0"/>
          <a:pathLst>
            <a:path>
              <a:moveTo>
                <a:pt x="1829259" y="0"/>
              </a:moveTo>
              <a:lnTo>
                <a:pt x="1829259" y="75984"/>
              </a:lnTo>
              <a:lnTo>
                <a:pt x="0" y="75984"/>
              </a:lnTo>
              <a:lnTo>
                <a:pt x="0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4CD70A3-0025-48A9-8988-85D169B686D2}" type="sibTrans" cxnId="{050F605A-7F11-4D44-B70D-5CB38B1F44FB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33C9CE1-5FD2-4462-BA9D-1E23DC361D5F}">
      <dgm:prSet custT="1"/>
      <dgm:spPr>
        <a:xfrm>
          <a:off x="1452108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Preparo de Requisitos do Sistema</a:t>
          </a:r>
        </a:p>
      </dgm:t>
    </dgm:pt>
    <dgm:pt modelId="{E8765CB2-89AB-432D-A188-7826D76840D6}" type="parTrans" cxnId="{1D551634-0DC5-4716-87D4-0C82EBF69B32}">
      <dgm:prSet/>
      <dgm:spPr>
        <a:xfrm>
          <a:off x="1302969" y="2352206"/>
          <a:ext cx="149139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028DE7D-4981-43C7-AB6A-3DEF7FEF2512}" type="sibTrans" cxnId="{1D551634-0DC5-4716-87D4-0C82EBF69B32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C167B39E-4ADE-4F9F-BDFE-9D4702F8130D}">
      <dgm:prSet custT="1"/>
      <dgm:spPr>
        <a:xfrm>
          <a:off x="1452108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Gestão do Projeto</a:t>
          </a:r>
        </a:p>
      </dgm:t>
    </dgm:pt>
    <dgm:pt modelId="{C55975C6-0B40-4BDD-901E-0349F6349C0E}" type="parTrans" cxnId="{CD60A32F-3F17-4D23-AD07-A8B79B419482}">
      <dgm:prSet/>
      <dgm:spPr>
        <a:xfrm>
          <a:off x="1302969" y="2352206"/>
          <a:ext cx="149139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C6318C85-243D-4FDD-8A75-1E52D5B149D0}" type="sibTrans" cxnId="{CD60A32F-3F17-4D23-AD07-A8B79B419482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848C1CD-95AF-442B-8C7F-A4AABB57A9C4}">
      <dgm:prSet custT="1"/>
      <dgm:spPr>
        <a:xfrm>
          <a:off x="2406603" y="1855074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Design</a:t>
          </a:r>
        </a:p>
      </dgm:t>
    </dgm:pt>
    <dgm:pt modelId="{D5D8B076-4EA4-4EFB-B859-CDCEC26F7CD7}" type="parTrans" cxnId="{31F49E45-260A-4EC7-BF12-F1FCBD214237}">
      <dgm:prSet/>
      <dgm:spPr>
        <a:xfrm>
          <a:off x="2903736" y="1646278"/>
          <a:ext cx="1310208" cy="208795"/>
        </a:xfrm>
        <a:custGeom>
          <a:avLst/>
          <a:gdLst/>
          <a:ahLst/>
          <a:cxnLst/>
          <a:rect l="0" t="0" r="0" b="0"/>
          <a:pathLst>
            <a:path>
              <a:moveTo>
                <a:pt x="953622" y="0"/>
              </a:moveTo>
              <a:lnTo>
                <a:pt x="953622" y="75984"/>
              </a:lnTo>
              <a:lnTo>
                <a:pt x="0" y="75984"/>
              </a:lnTo>
              <a:lnTo>
                <a:pt x="0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71182CA-8945-44C6-A129-9F81F010FFD2}" type="sibTrans" cxnId="{31F49E45-260A-4EC7-BF12-F1FCBD214237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A493BF5-6879-48C8-91C0-23DECB55DF06}">
      <dgm:prSet custT="1"/>
      <dgm:spPr>
        <a:xfrm>
          <a:off x="2655170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Preparo de Especificação Técnica</a:t>
          </a:r>
        </a:p>
      </dgm:t>
    </dgm:pt>
    <dgm:pt modelId="{C4ABA5D0-54BF-4F32-B8D1-0A002DD1BC02}" type="parTrans" cxnId="{23DDFE91-6F5F-42CA-89DA-C1BB241A9A2D}">
      <dgm:prSet/>
      <dgm:spPr>
        <a:xfrm>
          <a:off x="2506030" y="2352206"/>
          <a:ext cx="149139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5A5EBA5-ED64-42A9-92EC-74E658DF7A60}" type="sibTrans" cxnId="{23DDFE91-6F5F-42CA-89DA-C1BB241A9A2D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4DB4DE1-0251-4DFA-B1EB-BF1E5B4340D5}">
      <dgm:prSet custT="1"/>
      <dgm:spPr>
        <a:xfrm>
          <a:off x="2655170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Gestão do Projeto</a:t>
          </a:r>
        </a:p>
      </dgm:t>
    </dgm:pt>
    <dgm:pt modelId="{9429962E-168F-4FB4-B292-F8E616817608}" type="parTrans" cxnId="{77FC3F8E-86ED-46EA-9394-C0A3B06A1E74}">
      <dgm:prSet/>
      <dgm:spPr>
        <a:xfrm>
          <a:off x="2506030" y="2352206"/>
          <a:ext cx="149139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53461C1-338B-4E2B-AA49-68F6259F87BC}" type="sibTrans" cxnId="{77FC3F8E-86ED-46EA-9394-C0A3B06A1E74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4CEA2C1-7030-48AE-8128-3966D1EC0E0E}">
      <dgm:prSet custT="1"/>
      <dgm:spPr>
        <a:xfrm>
          <a:off x="3609665" y="1855074"/>
          <a:ext cx="1208559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spc="-15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Desenvolvimento</a:t>
          </a:r>
        </a:p>
      </dgm:t>
    </dgm:pt>
    <dgm:pt modelId="{0BB7286F-A28B-41AC-9DF5-124B085CD6B0}" type="parTrans" cxnId="{74E0DD24-0A98-4773-B48D-B534E0A5D54B}">
      <dgm:prSet/>
      <dgm:spPr>
        <a:xfrm>
          <a:off x="4168224" y="1646278"/>
          <a:ext cx="91440" cy="20879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8E961460-4A3E-4360-AD0D-27E2A62CCAA7}" type="sibTrans" cxnId="{74E0DD24-0A98-4773-B48D-B534E0A5D54B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4EC88DB-2A85-4379-917D-7BD4F1EB44E6}">
      <dgm:prSet custT="1"/>
      <dgm:spPr>
        <a:xfrm>
          <a:off x="3911804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Construção do sistema</a:t>
          </a:r>
        </a:p>
      </dgm:t>
    </dgm:pt>
    <dgm:pt modelId="{EA606285-4BA0-460E-BD44-F23EA8983760}" type="parTrans" cxnId="{E520237F-1CBC-4A2F-9515-07C67B56E249}">
      <dgm:prSet/>
      <dgm:spPr>
        <a:xfrm>
          <a:off x="3730520" y="2352206"/>
          <a:ext cx="181283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31945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C87D687-8114-44E0-AA21-B00BCD249394}" type="sibTrans" cxnId="{E520237F-1CBC-4A2F-9515-07C67B56E249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6394B59-0DDD-4E4D-9F00-4A97BFBBBACE}">
      <dgm:prSet custT="1"/>
      <dgm:spPr>
        <a:xfrm>
          <a:off x="3911804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Gestão do Projeto</a:t>
          </a:r>
        </a:p>
      </dgm:t>
    </dgm:pt>
    <dgm:pt modelId="{1F796EC9-9EA0-49D7-9614-957DDD9A08A3}" type="parTrans" cxnId="{16B2FEAD-F7F2-46AF-ABAE-A46F72B374DA}">
      <dgm:prSet/>
      <dgm:spPr>
        <a:xfrm>
          <a:off x="3730520" y="2352206"/>
          <a:ext cx="181283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31945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D0DF488-4CEB-4945-B096-58970D4AAD29}" type="sibTrans" cxnId="{16B2FEAD-F7F2-46AF-ABAE-A46F72B374DA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CB85BEC-491E-42F7-A088-01B3679D908A}">
      <dgm:prSet custT="1"/>
      <dgm:spPr>
        <a:xfrm>
          <a:off x="5027020" y="1855074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Teste e Verificação</a:t>
          </a:r>
        </a:p>
      </dgm:t>
    </dgm:pt>
    <dgm:pt modelId="{3F21C947-DE5C-4EB8-953E-029BCE470BF6}" type="parTrans" cxnId="{3B0ABB5F-04F8-4A40-A484-1A6BDEBE912E}">
      <dgm:prSet/>
      <dgm:spPr>
        <a:xfrm>
          <a:off x="4213944" y="1646278"/>
          <a:ext cx="1310208" cy="2087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984"/>
              </a:lnTo>
              <a:lnTo>
                <a:pt x="953622" y="75984"/>
              </a:lnTo>
              <a:lnTo>
                <a:pt x="953622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2B19D78-420D-4C60-A704-530BCC61A947}" type="sibTrans" cxnId="{3B0ABB5F-04F8-4A40-A484-1A6BDEBE912E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32DBFB62-BEB0-4159-9FA2-0567C9646C72}">
      <dgm:prSet custT="1"/>
      <dgm:spPr>
        <a:xfrm>
          <a:off x="5275586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Realização de Testes isolados</a:t>
          </a:r>
        </a:p>
      </dgm:t>
    </dgm:pt>
    <dgm:pt modelId="{78711B40-1913-4516-A619-86E507E54782}" type="parTrans" cxnId="{63A05F17-98C8-484B-A81C-BB46A549CAFF}">
      <dgm:prSet/>
      <dgm:spPr>
        <a:xfrm>
          <a:off x="5126446" y="2352206"/>
          <a:ext cx="149139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2CAAE9E-219C-4B48-AF87-6E2C651D7E90}" type="sibTrans" cxnId="{63A05F17-98C8-484B-A81C-BB46A549CAFF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CCAC254D-1006-400E-8627-617D0B13BE23}">
      <dgm:prSet custT="1"/>
      <dgm:spPr>
        <a:xfrm>
          <a:off x="5275586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Realização de Testes Integrados</a:t>
          </a:r>
        </a:p>
      </dgm:t>
    </dgm:pt>
    <dgm:pt modelId="{873BE51D-9533-4623-B0D4-2374EA4E57F0}" type="parTrans" cxnId="{7E83E4C7-81B4-4867-91AC-2794625E5844}">
      <dgm:prSet/>
      <dgm:spPr>
        <a:xfrm>
          <a:off x="5126446" y="2352206"/>
          <a:ext cx="149139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0C2C94B-61E7-4481-A3EE-D6C721BA4B6E}" type="sibTrans" cxnId="{7E83E4C7-81B4-4867-91AC-2794625E5844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10629E7-4E09-4D74-9030-3F90E2E86F21}">
      <dgm:prSet custT="1"/>
      <dgm:spPr>
        <a:xfrm>
          <a:off x="5275586" y="3972859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Gestão do Projeto</a:t>
          </a:r>
        </a:p>
      </dgm:t>
    </dgm:pt>
    <dgm:pt modelId="{92A2E1DC-5AAA-4E8B-BE3D-85DDF5AC3205}" type="parTrans" cxnId="{45967058-8C8B-4A20-A7EE-02C8003D9187}">
      <dgm:prSet/>
      <dgm:spPr>
        <a:xfrm>
          <a:off x="5126446" y="2352206"/>
          <a:ext cx="149139" cy="18692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493"/>
              </a:lnTo>
              <a:lnTo>
                <a:pt x="108549" y="1360493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667FB98-3598-44ED-88F7-648375BC5A3B}" type="sibTrans" cxnId="{45967058-8C8B-4A20-A7EE-02C8003D9187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B5D24E9-F41F-4C14-94B2-8EDFAE14C1F9}">
      <dgm:prSet custT="1"/>
      <dgm:spPr>
        <a:xfrm>
          <a:off x="6230081" y="1855074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spc="-15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Implementação</a:t>
          </a:r>
        </a:p>
      </dgm:t>
    </dgm:pt>
    <dgm:pt modelId="{00382FB4-B4E9-4C71-85C0-85DA2DB2431D}" type="parTrans" cxnId="{964BA872-1368-43A0-BBFC-DCEEBED2DAC6}">
      <dgm:prSet/>
      <dgm:spPr>
        <a:xfrm>
          <a:off x="4213944" y="1646278"/>
          <a:ext cx="2513269" cy="2087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984"/>
              </a:lnTo>
              <a:lnTo>
                <a:pt x="1829259" y="75984"/>
              </a:lnTo>
              <a:lnTo>
                <a:pt x="1829259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202E97B-936A-4E6F-9E41-3D1559F63872}" type="sibTrans" cxnId="{964BA872-1368-43A0-BBFC-DCEEBED2DAC6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E722FEB-A94B-4572-BC11-05BD026D1AC3}">
      <dgm:prSet custT="1"/>
      <dgm:spPr>
        <a:xfrm>
          <a:off x="6478647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Preparo de </a:t>
          </a:r>
          <a:r>
            <a:rPr lang="pt-BR" sz="1100" spc="-15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documentação</a:t>
          </a:r>
        </a:p>
      </dgm:t>
    </dgm:pt>
    <dgm:pt modelId="{121C0B4F-E379-41AF-92B2-807DD467307F}" type="parTrans" cxnId="{508A9925-8794-488B-8A10-B57A8744610B}">
      <dgm:prSet/>
      <dgm:spPr>
        <a:xfrm>
          <a:off x="6329508" y="2352206"/>
          <a:ext cx="149139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CAB3BAE2-014B-4C2E-A8F5-6F1C31AFDF77}" type="sibTrans" cxnId="{508A9925-8794-488B-8A10-B57A8744610B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22CF3ED-1A22-4FDC-AB40-ED399D443CAE}">
      <dgm:prSet custT="1"/>
      <dgm:spPr>
        <a:xfrm>
          <a:off x="6478647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Execução de Treinamento a usuários</a:t>
          </a:r>
        </a:p>
      </dgm:t>
    </dgm:pt>
    <dgm:pt modelId="{4F25A1EB-9F96-4B9B-B1A7-FCE51AC7BBCD}" type="parTrans" cxnId="{4BA11BD3-F8AA-4C49-AB4A-D79B14DF329F}">
      <dgm:prSet/>
      <dgm:spPr>
        <a:xfrm>
          <a:off x="6329508" y="2352206"/>
          <a:ext cx="149139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E1E2569C-257E-4301-94CD-99C9F94C5E26}" type="sibTrans" cxnId="{4BA11BD3-F8AA-4C49-AB4A-D79B14DF329F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B0BC818-B900-46E8-91C0-92D2A764F060}">
      <dgm:prSet custT="1"/>
      <dgm:spPr>
        <a:xfrm>
          <a:off x="6478647" y="3972859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Gestão do Projeto</a:t>
          </a:r>
        </a:p>
      </dgm:t>
    </dgm:pt>
    <dgm:pt modelId="{B4D4F00B-252C-412F-9809-E2FE90FCB5DB}" type="parTrans" cxnId="{86B50EC5-6E85-4149-8912-BDD9A79363A3}">
      <dgm:prSet/>
      <dgm:spPr>
        <a:xfrm>
          <a:off x="6329508" y="2352206"/>
          <a:ext cx="149139" cy="18692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493"/>
              </a:lnTo>
              <a:lnTo>
                <a:pt x="108549" y="1360493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90F33B2C-6526-4C73-8A65-AEB1F51FC40D}" type="sibTrans" cxnId="{86B50EC5-6E85-4149-8912-BDD9A79363A3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8F791C2-F358-4EDC-B2F9-2155A3A81519}">
      <dgm:prSet custT="1"/>
      <dgm:spPr>
        <a:xfrm>
          <a:off x="7433142" y="1855074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spc="-15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Pós-Implementação</a:t>
          </a:r>
        </a:p>
      </dgm:t>
    </dgm:pt>
    <dgm:pt modelId="{29833FD4-6F66-45CC-8A53-1036F66AEC12}" type="parTrans" cxnId="{816B0218-BAFB-4F76-9108-E653517CB453}">
      <dgm:prSet/>
      <dgm:spPr>
        <a:xfrm>
          <a:off x="4213944" y="1646278"/>
          <a:ext cx="3716330" cy="2087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984"/>
              </a:lnTo>
              <a:lnTo>
                <a:pt x="2704895" y="75984"/>
              </a:lnTo>
              <a:lnTo>
                <a:pt x="2704895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22DB477-CA98-4A7B-920D-823E7B118084}" type="sibTrans" cxnId="{816B0218-BAFB-4F76-9108-E653517CB453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D9B14C8-29E4-4B09-88D5-ECDBC7EDA20A}">
      <dgm:prSet custT="1"/>
      <dgm:spPr>
        <a:xfrm>
          <a:off x="7681709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Remoção dos antigos sistemas</a:t>
          </a:r>
        </a:p>
      </dgm:t>
    </dgm:pt>
    <dgm:pt modelId="{D2B65621-954E-4775-9E11-E5EDE5E72A99}" type="parTrans" cxnId="{5F590368-CA2D-4A7E-963C-DCC71338E7D4}">
      <dgm:prSet/>
      <dgm:spPr>
        <a:xfrm>
          <a:off x="7532569" y="2352206"/>
          <a:ext cx="149139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5E1AF3A-6220-48AE-AFA4-9FAF6EF705F9}" type="sibTrans" cxnId="{5F590368-CA2D-4A7E-963C-DCC71338E7D4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880AEF86-30D9-4A5B-9951-D45E0B0B8A8C}">
      <dgm:prSet custT="1"/>
      <dgm:spPr>
        <a:xfrm>
          <a:off x="7681709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Apoio a usuários</a:t>
          </a:r>
        </a:p>
      </dgm:t>
    </dgm:pt>
    <dgm:pt modelId="{6F292361-90A9-4F80-A25E-C4CA39D79F95}" type="parTrans" cxnId="{31A40D42-9714-472C-A650-79AEF1710DC9}">
      <dgm:prSet/>
      <dgm:spPr>
        <a:xfrm>
          <a:off x="7532569" y="2352206"/>
          <a:ext cx="149139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8E148ABC-CF25-4751-8163-96534546BC47}" type="sibTrans" cxnId="{31A40D42-9714-472C-A650-79AEF1710DC9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4648569-7EEC-4AE4-AB4E-EF3C634EE8AE}">
      <dgm:prSet custT="1"/>
      <dgm:spPr>
        <a:xfrm>
          <a:off x="7681709" y="3972859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pPr>
            <a:buNone/>
          </a:pPr>
          <a:r>
            <a:rPr lang="pt-BR" sz="11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Gestão do Projeto</a:t>
          </a:r>
        </a:p>
      </dgm:t>
    </dgm:pt>
    <dgm:pt modelId="{04739829-FCF8-4006-85B1-4112DA7AE5D9}" type="parTrans" cxnId="{2828E097-953A-4001-BB94-097FF2D93342}">
      <dgm:prSet/>
      <dgm:spPr>
        <a:xfrm>
          <a:off x="7532569" y="2352206"/>
          <a:ext cx="149139" cy="18692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493"/>
              </a:lnTo>
              <a:lnTo>
                <a:pt x="108549" y="1360493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gm:spPr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7010E74-019F-48B4-9680-9D1D2E2DED30}" type="sibTrans" cxnId="{2828E097-953A-4001-BB94-097FF2D93342}">
      <dgm:prSet/>
      <dgm:spPr/>
      <dgm:t>
        <a:bodyPr/>
        <a:lstStyle/>
        <a:p>
          <a:endParaRPr lang="pt-BR" sz="11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DDBFA6C-4B83-47AD-843F-3F1E8C5F32A0}" type="pres">
      <dgm:prSet presAssocID="{D39B9CB6-03D3-4C46-8EFD-7B46DE020F6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55E40242-4C4B-4156-B054-239B18E2A9F5}" type="pres">
      <dgm:prSet presAssocID="{9ACCA313-1D45-4B46-9C3B-D770C55AABA3}" presName="hierRoot1" presStyleCnt="0">
        <dgm:presLayoutVars>
          <dgm:hierBranch val="init"/>
        </dgm:presLayoutVars>
      </dgm:prSet>
      <dgm:spPr/>
    </dgm:pt>
    <dgm:pt modelId="{B1415DF9-48FA-4001-82D3-39BC9AF4FFD4}" type="pres">
      <dgm:prSet presAssocID="{9ACCA313-1D45-4B46-9C3B-D770C55AABA3}" presName="rootComposite1" presStyleCnt="0"/>
      <dgm:spPr/>
    </dgm:pt>
    <dgm:pt modelId="{47E0F2E6-C891-487D-A0B0-1BCEF73C04D9}" type="pres">
      <dgm:prSet presAssocID="{9ACCA313-1D45-4B46-9C3B-D770C55AABA3}" presName="rootText1" presStyleLbl="node0" presStyleIdx="0" presStyleCnt="1" custScaleX="151722" custScaleY="216383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FAF2258B-BBEC-445A-8C1D-EDBC1B80A569}" type="pres">
      <dgm:prSet presAssocID="{9ACCA313-1D45-4B46-9C3B-D770C55AABA3}" presName="rootConnector1" presStyleLbl="node1" presStyleIdx="0" presStyleCnt="0"/>
      <dgm:spPr/>
      <dgm:t>
        <a:bodyPr/>
        <a:lstStyle/>
        <a:p>
          <a:endParaRPr lang="en-US"/>
        </a:p>
      </dgm:t>
    </dgm:pt>
    <dgm:pt modelId="{3A2C620C-850E-4245-8F5C-7D68A458D75F}" type="pres">
      <dgm:prSet presAssocID="{9ACCA313-1D45-4B46-9C3B-D770C55AABA3}" presName="hierChild2" presStyleCnt="0"/>
      <dgm:spPr/>
    </dgm:pt>
    <dgm:pt modelId="{79A86BF9-A759-4E2D-9611-CE69C2E1A179}" type="pres">
      <dgm:prSet presAssocID="{B85EDDB7-2892-4D05-8590-0FC38384E299}" presName="Name37" presStyleLbl="parChTrans1D2" presStyleIdx="0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2704895" y="0"/>
              </a:moveTo>
              <a:lnTo>
                <a:pt x="2704895" y="75984"/>
              </a:lnTo>
              <a:lnTo>
                <a:pt x="0" y="75984"/>
              </a:lnTo>
              <a:lnTo>
                <a:pt x="0" y="15196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3A3DA321-E614-47BE-B888-65BF1958C930}" type="pres">
      <dgm:prSet presAssocID="{044064EA-4B97-4511-8678-D835E04968D1}" presName="hierRoot2" presStyleCnt="0">
        <dgm:presLayoutVars>
          <dgm:hierBranch val="init"/>
        </dgm:presLayoutVars>
      </dgm:prSet>
      <dgm:spPr/>
    </dgm:pt>
    <dgm:pt modelId="{4D25FCFA-5EC3-4EA7-A488-1E3BF75B7396}" type="pres">
      <dgm:prSet presAssocID="{044064EA-4B97-4511-8678-D835E04968D1}" presName="rootComposite" presStyleCnt="0"/>
      <dgm:spPr/>
    </dgm:pt>
    <dgm:pt modelId="{6348DEF2-B6AF-4816-9E50-A62242BD2DDB}" type="pres">
      <dgm:prSet presAssocID="{044064EA-4B97-4511-8678-D835E04968D1}" presName="rootText" presStyleLbl="node2" presStyleIdx="0" presStyleCnt="7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6EAFC824-732F-41DC-90FB-0E72FB64FA1A}" type="pres">
      <dgm:prSet presAssocID="{044064EA-4B97-4511-8678-D835E04968D1}" presName="rootConnector" presStyleLbl="node2" presStyleIdx="0" presStyleCnt="7"/>
      <dgm:spPr/>
      <dgm:t>
        <a:bodyPr/>
        <a:lstStyle/>
        <a:p>
          <a:endParaRPr lang="en-US"/>
        </a:p>
      </dgm:t>
    </dgm:pt>
    <dgm:pt modelId="{3EB0C940-DA66-408D-B956-FE4EB8524C90}" type="pres">
      <dgm:prSet presAssocID="{044064EA-4B97-4511-8678-D835E04968D1}" presName="hierChild4" presStyleCnt="0"/>
      <dgm:spPr/>
    </dgm:pt>
    <dgm:pt modelId="{1914807C-E488-45F4-B124-4BCB729E37AC}" type="pres">
      <dgm:prSet presAssocID="{7EACB5AC-7A9B-4D9F-AF05-FAE33AB51D81}" presName="Name37" presStyleLbl="parChTrans1D3" presStyleIdx="0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B8614267-4234-4253-B2F6-5AFDD2630277}" type="pres">
      <dgm:prSet presAssocID="{A0CB8F3F-993A-42DD-A0FC-20AD87E0E00A}" presName="hierRoot2" presStyleCnt="0">
        <dgm:presLayoutVars>
          <dgm:hierBranch val="init"/>
        </dgm:presLayoutVars>
      </dgm:prSet>
      <dgm:spPr/>
    </dgm:pt>
    <dgm:pt modelId="{152CED3B-2443-4ABB-94EB-664282C5AD4F}" type="pres">
      <dgm:prSet presAssocID="{A0CB8F3F-993A-42DD-A0FC-20AD87E0E00A}" presName="rootComposite" presStyleCnt="0"/>
      <dgm:spPr/>
    </dgm:pt>
    <dgm:pt modelId="{1AC64A07-E561-4874-9257-89DE6750951C}" type="pres">
      <dgm:prSet presAssocID="{A0CB8F3F-993A-42DD-A0FC-20AD87E0E00A}" presName="rootText" presStyleLbl="node3" presStyleIdx="0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D111C444-C603-4074-A98D-4D1D8D7A4C4C}" type="pres">
      <dgm:prSet presAssocID="{A0CB8F3F-993A-42DD-A0FC-20AD87E0E00A}" presName="rootConnector" presStyleLbl="node3" presStyleIdx="0" presStyleCnt="18"/>
      <dgm:spPr/>
      <dgm:t>
        <a:bodyPr/>
        <a:lstStyle/>
        <a:p>
          <a:endParaRPr lang="en-US"/>
        </a:p>
      </dgm:t>
    </dgm:pt>
    <dgm:pt modelId="{FFC800E2-DB0F-4BF3-9656-31F9FE948EC2}" type="pres">
      <dgm:prSet presAssocID="{A0CB8F3F-993A-42DD-A0FC-20AD87E0E00A}" presName="hierChild4" presStyleCnt="0"/>
      <dgm:spPr/>
    </dgm:pt>
    <dgm:pt modelId="{F6D087B9-FD21-4C94-91DA-04AA30757EC9}" type="pres">
      <dgm:prSet presAssocID="{A0CB8F3F-993A-42DD-A0FC-20AD87E0E00A}" presName="hierChild5" presStyleCnt="0"/>
      <dgm:spPr/>
    </dgm:pt>
    <dgm:pt modelId="{632D83E0-26EF-443D-A0D2-DBD2D1EC7EEE}" type="pres">
      <dgm:prSet presAssocID="{8C7F6E98-2137-4D37-898A-FD3FD8CFBCE5}" presName="Name37" presStyleLbl="parChTrans1D3" presStyleIdx="1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A1C089F2-B863-4445-A3A2-5D7545EE566A}" type="pres">
      <dgm:prSet presAssocID="{19E75CC8-BEAD-40AE-B2B8-A087FE8DB935}" presName="hierRoot2" presStyleCnt="0">
        <dgm:presLayoutVars>
          <dgm:hierBranch val="init"/>
        </dgm:presLayoutVars>
      </dgm:prSet>
      <dgm:spPr/>
    </dgm:pt>
    <dgm:pt modelId="{2B45615E-E2B8-4188-93EF-171ED96FC287}" type="pres">
      <dgm:prSet presAssocID="{19E75CC8-BEAD-40AE-B2B8-A087FE8DB935}" presName="rootComposite" presStyleCnt="0"/>
      <dgm:spPr/>
    </dgm:pt>
    <dgm:pt modelId="{BC05A892-D068-4E73-BF3C-3F3E039826E7}" type="pres">
      <dgm:prSet presAssocID="{19E75CC8-BEAD-40AE-B2B8-A087FE8DB935}" presName="rootText" presStyleLbl="node3" presStyleIdx="1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2E324FD7-B508-4431-8E62-CD2AA8A87F58}" type="pres">
      <dgm:prSet presAssocID="{19E75CC8-BEAD-40AE-B2B8-A087FE8DB935}" presName="rootConnector" presStyleLbl="node3" presStyleIdx="1" presStyleCnt="18"/>
      <dgm:spPr/>
      <dgm:t>
        <a:bodyPr/>
        <a:lstStyle/>
        <a:p>
          <a:endParaRPr lang="en-US"/>
        </a:p>
      </dgm:t>
    </dgm:pt>
    <dgm:pt modelId="{4763D48E-7F3E-49C8-BD5E-13B1FE23512E}" type="pres">
      <dgm:prSet presAssocID="{19E75CC8-BEAD-40AE-B2B8-A087FE8DB935}" presName="hierChild4" presStyleCnt="0"/>
      <dgm:spPr/>
    </dgm:pt>
    <dgm:pt modelId="{CEAB6E36-0141-4BAF-AB38-116492FCA11D}" type="pres">
      <dgm:prSet presAssocID="{19E75CC8-BEAD-40AE-B2B8-A087FE8DB935}" presName="hierChild5" presStyleCnt="0"/>
      <dgm:spPr/>
    </dgm:pt>
    <dgm:pt modelId="{AC1EE9E3-B11A-4949-B3CA-C7D9CC494444}" type="pres">
      <dgm:prSet presAssocID="{5853802A-B9D5-4FEC-9FB7-D3B9C38F81D1}" presName="Name37" presStyleLbl="parChTrans1D3" presStyleIdx="2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493"/>
              </a:lnTo>
              <a:lnTo>
                <a:pt x="108549" y="1360493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02E6B363-751E-4B96-A247-E972336ED352}" type="pres">
      <dgm:prSet presAssocID="{9D35C064-1BE1-4A7A-AB45-023F36D1214D}" presName="hierRoot2" presStyleCnt="0">
        <dgm:presLayoutVars>
          <dgm:hierBranch val="init"/>
        </dgm:presLayoutVars>
      </dgm:prSet>
      <dgm:spPr/>
    </dgm:pt>
    <dgm:pt modelId="{D77DC420-6CE1-4B6A-A9EF-EB53D507552D}" type="pres">
      <dgm:prSet presAssocID="{9D35C064-1BE1-4A7A-AB45-023F36D1214D}" presName="rootComposite" presStyleCnt="0"/>
      <dgm:spPr/>
    </dgm:pt>
    <dgm:pt modelId="{59F7B814-D258-4C60-A457-FBCFE2C61E94}" type="pres">
      <dgm:prSet presAssocID="{9D35C064-1BE1-4A7A-AB45-023F36D1214D}" presName="rootText" presStyleLbl="node3" presStyleIdx="2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89D55375-6D17-480B-B220-F6A48A8CE708}" type="pres">
      <dgm:prSet presAssocID="{9D35C064-1BE1-4A7A-AB45-023F36D1214D}" presName="rootConnector" presStyleLbl="node3" presStyleIdx="2" presStyleCnt="18"/>
      <dgm:spPr/>
      <dgm:t>
        <a:bodyPr/>
        <a:lstStyle/>
        <a:p>
          <a:endParaRPr lang="en-US"/>
        </a:p>
      </dgm:t>
    </dgm:pt>
    <dgm:pt modelId="{19C44F7C-CA0D-4BC3-A66B-F4801A669567}" type="pres">
      <dgm:prSet presAssocID="{9D35C064-1BE1-4A7A-AB45-023F36D1214D}" presName="hierChild4" presStyleCnt="0"/>
      <dgm:spPr/>
    </dgm:pt>
    <dgm:pt modelId="{8DBBECAF-A9E6-41F5-85DB-97E3B609485D}" type="pres">
      <dgm:prSet presAssocID="{9D35C064-1BE1-4A7A-AB45-023F36D1214D}" presName="hierChild5" presStyleCnt="0"/>
      <dgm:spPr/>
    </dgm:pt>
    <dgm:pt modelId="{7CA756AB-1205-4D7E-B7B6-E5C3104C474B}" type="pres">
      <dgm:prSet presAssocID="{044064EA-4B97-4511-8678-D835E04968D1}" presName="hierChild5" presStyleCnt="0"/>
      <dgm:spPr/>
    </dgm:pt>
    <dgm:pt modelId="{0E79FEA3-D074-4C4B-9814-4999FAADF258}" type="pres">
      <dgm:prSet presAssocID="{A71BDF02-919A-4460-9FA5-D2449C0ECD25}" presName="Name37" presStyleLbl="parChTrans1D2" presStyleIdx="1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1829259" y="0"/>
              </a:moveTo>
              <a:lnTo>
                <a:pt x="1829259" y="75984"/>
              </a:lnTo>
              <a:lnTo>
                <a:pt x="0" y="75984"/>
              </a:lnTo>
              <a:lnTo>
                <a:pt x="0" y="15196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89F26F11-3B4E-44F5-BD5E-44B832BBC093}" type="pres">
      <dgm:prSet presAssocID="{6DBB144B-03B7-4B87-8194-084058D42CA3}" presName="hierRoot2" presStyleCnt="0">
        <dgm:presLayoutVars>
          <dgm:hierBranch val="init"/>
        </dgm:presLayoutVars>
      </dgm:prSet>
      <dgm:spPr/>
    </dgm:pt>
    <dgm:pt modelId="{F4AEF35E-25D6-4AB4-B394-4E1B2F950B66}" type="pres">
      <dgm:prSet presAssocID="{6DBB144B-03B7-4B87-8194-084058D42CA3}" presName="rootComposite" presStyleCnt="0"/>
      <dgm:spPr/>
    </dgm:pt>
    <dgm:pt modelId="{56A05D0B-F7B1-4C2F-893B-E00EFB9F10C6}" type="pres">
      <dgm:prSet presAssocID="{6DBB144B-03B7-4B87-8194-084058D42CA3}" presName="rootText" presStyleLbl="node2" presStyleIdx="1" presStyleCnt="7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52EDBD53-3995-44F9-81FC-883077D614EC}" type="pres">
      <dgm:prSet presAssocID="{6DBB144B-03B7-4B87-8194-084058D42CA3}" presName="rootConnector" presStyleLbl="node2" presStyleIdx="1" presStyleCnt="7"/>
      <dgm:spPr/>
      <dgm:t>
        <a:bodyPr/>
        <a:lstStyle/>
        <a:p>
          <a:endParaRPr lang="en-US"/>
        </a:p>
      </dgm:t>
    </dgm:pt>
    <dgm:pt modelId="{6B96DB21-CFAB-4BD1-92E3-7B5AF39BCE3D}" type="pres">
      <dgm:prSet presAssocID="{6DBB144B-03B7-4B87-8194-084058D42CA3}" presName="hierChild4" presStyleCnt="0"/>
      <dgm:spPr/>
    </dgm:pt>
    <dgm:pt modelId="{51C3D8F0-B12B-423A-95F4-1524872C2C88}" type="pres">
      <dgm:prSet presAssocID="{E8765CB2-89AB-432D-A188-7826D76840D6}" presName="Name37" presStyleLbl="parChTrans1D3" presStyleIdx="3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9BAF1860-242E-458D-BB58-A3BEED6539D5}" type="pres">
      <dgm:prSet presAssocID="{233C9CE1-5FD2-4462-BA9D-1E23DC361D5F}" presName="hierRoot2" presStyleCnt="0">
        <dgm:presLayoutVars>
          <dgm:hierBranch val="init"/>
        </dgm:presLayoutVars>
      </dgm:prSet>
      <dgm:spPr/>
    </dgm:pt>
    <dgm:pt modelId="{532BBC8F-8CD8-469E-B7DA-A35A46AFACD9}" type="pres">
      <dgm:prSet presAssocID="{233C9CE1-5FD2-4462-BA9D-1E23DC361D5F}" presName="rootComposite" presStyleCnt="0"/>
      <dgm:spPr/>
    </dgm:pt>
    <dgm:pt modelId="{A609C574-62A2-4CFC-8004-3CC32C7F538E}" type="pres">
      <dgm:prSet presAssocID="{233C9CE1-5FD2-4462-BA9D-1E23DC361D5F}" presName="rootText" presStyleLbl="node3" presStyleIdx="3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D5C42B68-4358-4F63-91FA-2BD48C52FF29}" type="pres">
      <dgm:prSet presAssocID="{233C9CE1-5FD2-4462-BA9D-1E23DC361D5F}" presName="rootConnector" presStyleLbl="node3" presStyleIdx="3" presStyleCnt="18"/>
      <dgm:spPr/>
      <dgm:t>
        <a:bodyPr/>
        <a:lstStyle/>
        <a:p>
          <a:endParaRPr lang="en-US"/>
        </a:p>
      </dgm:t>
    </dgm:pt>
    <dgm:pt modelId="{E3E3743A-8410-487B-8E7F-7752F1BC17D7}" type="pres">
      <dgm:prSet presAssocID="{233C9CE1-5FD2-4462-BA9D-1E23DC361D5F}" presName="hierChild4" presStyleCnt="0"/>
      <dgm:spPr/>
    </dgm:pt>
    <dgm:pt modelId="{86B3645A-C268-44F9-BC71-74A9C4E833FF}" type="pres">
      <dgm:prSet presAssocID="{233C9CE1-5FD2-4462-BA9D-1E23DC361D5F}" presName="hierChild5" presStyleCnt="0"/>
      <dgm:spPr/>
    </dgm:pt>
    <dgm:pt modelId="{A41E142B-50E2-4B81-AC93-448690D6B404}" type="pres">
      <dgm:prSet presAssocID="{C55975C6-0B40-4BDD-901E-0349F6349C0E}" presName="Name37" presStyleLbl="parChTrans1D3" presStyleIdx="4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E492B115-BCEC-4BC6-AA38-CC0A686C08CD}" type="pres">
      <dgm:prSet presAssocID="{C167B39E-4ADE-4F9F-BDFE-9D4702F8130D}" presName="hierRoot2" presStyleCnt="0">
        <dgm:presLayoutVars>
          <dgm:hierBranch val="init"/>
        </dgm:presLayoutVars>
      </dgm:prSet>
      <dgm:spPr/>
    </dgm:pt>
    <dgm:pt modelId="{200D5687-F116-4981-B072-04A8C34B1946}" type="pres">
      <dgm:prSet presAssocID="{C167B39E-4ADE-4F9F-BDFE-9D4702F8130D}" presName="rootComposite" presStyleCnt="0"/>
      <dgm:spPr/>
    </dgm:pt>
    <dgm:pt modelId="{0A0B88DA-36A7-407A-A47C-E169BF702BD8}" type="pres">
      <dgm:prSet presAssocID="{C167B39E-4ADE-4F9F-BDFE-9D4702F8130D}" presName="rootText" presStyleLbl="node3" presStyleIdx="4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A86A52FB-EA04-473A-8538-8091D29470B9}" type="pres">
      <dgm:prSet presAssocID="{C167B39E-4ADE-4F9F-BDFE-9D4702F8130D}" presName="rootConnector" presStyleLbl="node3" presStyleIdx="4" presStyleCnt="18"/>
      <dgm:spPr/>
      <dgm:t>
        <a:bodyPr/>
        <a:lstStyle/>
        <a:p>
          <a:endParaRPr lang="en-US"/>
        </a:p>
      </dgm:t>
    </dgm:pt>
    <dgm:pt modelId="{2EDB04DD-16F2-4402-AF71-5758FA21A1C4}" type="pres">
      <dgm:prSet presAssocID="{C167B39E-4ADE-4F9F-BDFE-9D4702F8130D}" presName="hierChild4" presStyleCnt="0"/>
      <dgm:spPr/>
    </dgm:pt>
    <dgm:pt modelId="{F8EE4C0E-0001-4FDE-AAAA-E72EB7E0CF8F}" type="pres">
      <dgm:prSet presAssocID="{C167B39E-4ADE-4F9F-BDFE-9D4702F8130D}" presName="hierChild5" presStyleCnt="0"/>
      <dgm:spPr/>
    </dgm:pt>
    <dgm:pt modelId="{4D7C504C-4F45-4A9D-9564-AC600E7C2FB6}" type="pres">
      <dgm:prSet presAssocID="{6DBB144B-03B7-4B87-8194-084058D42CA3}" presName="hierChild5" presStyleCnt="0"/>
      <dgm:spPr/>
    </dgm:pt>
    <dgm:pt modelId="{DF45A38A-83B6-4935-A5AA-7F48A1C53ED7}" type="pres">
      <dgm:prSet presAssocID="{D5D8B076-4EA4-4EFB-B859-CDCEC26F7CD7}" presName="Name37" presStyleLbl="parChTrans1D2" presStyleIdx="2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953622" y="0"/>
              </a:moveTo>
              <a:lnTo>
                <a:pt x="953622" y="75984"/>
              </a:lnTo>
              <a:lnTo>
                <a:pt x="0" y="75984"/>
              </a:lnTo>
              <a:lnTo>
                <a:pt x="0" y="15196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F13EB549-5C4D-4207-883A-426FC2E05748}" type="pres">
      <dgm:prSet presAssocID="{A848C1CD-95AF-442B-8C7F-A4AABB57A9C4}" presName="hierRoot2" presStyleCnt="0">
        <dgm:presLayoutVars>
          <dgm:hierBranch val="init"/>
        </dgm:presLayoutVars>
      </dgm:prSet>
      <dgm:spPr/>
    </dgm:pt>
    <dgm:pt modelId="{BA8FA96F-8F86-4BE2-ACBC-88DCB85D32A4}" type="pres">
      <dgm:prSet presAssocID="{A848C1CD-95AF-442B-8C7F-A4AABB57A9C4}" presName="rootComposite" presStyleCnt="0"/>
      <dgm:spPr/>
    </dgm:pt>
    <dgm:pt modelId="{8BCC439C-4B2A-4AF8-99A4-51648F321FC7}" type="pres">
      <dgm:prSet presAssocID="{A848C1CD-95AF-442B-8C7F-A4AABB57A9C4}" presName="rootText" presStyleLbl="node2" presStyleIdx="2" presStyleCnt="7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A86039FC-A812-4986-92E5-9CE23EF9FCBE}" type="pres">
      <dgm:prSet presAssocID="{A848C1CD-95AF-442B-8C7F-A4AABB57A9C4}" presName="rootConnector" presStyleLbl="node2" presStyleIdx="2" presStyleCnt="7"/>
      <dgm:spPr/>
      <dgm:t>
        <a:bodyPr/>
        <a:lstStyle/>
        <a:p>
          <a:endParaRPr lang="en-US"/>
        </a:p>
      </dgm:t>
    </dgm:pt>
    <dgm:pt modelId="{A4B62F3E-7C5B-4032-8C1D-5DF837EE1AC8}" type="pres">
      <dgm:prSet presAssocID="{A848C1CD-95AF-442B-8C7F-A4AABB57A9C4}" presName="hierChild4" presStyleCnt="0"/>
      <dgm:spPr/>
    </dgm:pt>
    <dgm:pt modelId="{5C437BFD-D3F8-4D08-896B-59278537265A}" type="pres">
      <dgm:prSet presAssocID="{C4ABA5D0-54BF-4F32-B8D1-0A002DD1BC02}" presName="Name37" presStyleLbl="parChTrans1D3" presStyleIdx="5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65D39D72-42A7-4D38-858C-282461F9ABC2}" type="pres">
      <dgm:prSet presAssocID="{FA493BF5-6879-48C8-91C0-23DECB55DF06}" presName="hierRoot2" presStyleCnt="0">
        <dgm:presLayoutVars>
          <dgm:hierBranch val="init"/>
        </dgm:presLayoutVars>
      </dgm:prSet>
      <dgm:spPr/>
    </dgm:pt>
    <dgm:pt modelId="{28BDEDD6-B00E-4DCC-8F37-E7BF501FD14A}" type="pres">
      <dgm:prSet presAssocID="{FA493BF5-6879-48C8-91C0-23DECB55DF06}" presName="rootComposite" presStyleCnt="0"/>
      <dgm:spPr/>
    </dgm:pt>
    <dgm:pt modelId="{FC460032-D689-459B-8474-0DD32576B01C}" type="pres">
      <dgm:prSet presAssocID="{FA493BF5-6879-48C8-91C0-23DECB55DF06}" presName="rootText" presStyleLbl="node3" presStyleIdx="5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FD056A5F-40C4-4E44-ABE9-2AA192700FCF}" type="pres">
      <dgm:prSet presAssocID="{FA493BF5-6879-48C8-91C0-23DECB55DF06}" presName="rootConnector" presStyleLbl="node3" presStyleIdx="5" presStyleCnt="18"/>
      <dgm:spPr/>
      <dgm:t>
        <a:bodyPr/>
        <a:lstStyle/>
        <a:p>
          <a:endParaRPr lang="en-US"/>
        </a:p>
      </dgm:t>
    </dgm:pt>
    <dgm:pt modelId="{55F42BEF-7819-4915-854F-4E25952AC3E7}" type="pres">
      <dgm:prSet presAssocID="{FA493BF5-6879-48C8-91C0-23DECB55DF06}" presName="hierChild4" presStyleCnt="0"/>
      <dgm:spPr/>
    </dgm:pt>
    <dgm:pt modelId="{44528E77-D962-413F-8307-4E9B4201AC4F}" type="pres">
      <dgm:prSet presAssocID="{FA493BF5-6879-48C8-91C0-23DECB55DF06}" presName="hierChild5" presStyleCnt="0"/>
      <dgm:spPr/>
    </dgm:pt>
    <dgm:pt modelId="{2D21F98B-FA72-4289-9D8D-8F63DA4B5FC0}" type="pres">
      <dgm:prSet presAssocID="{9429962E-168F-4FB4-B292-F8E616817608}" presName="Name37" presStyleLbl="parChTrans1D3" presStyleIdx="6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BF903A1D-5DBC-41BC-A258-174C9ABD25FB}" type="pres">
      <dgm:prSet presAssocID="{B4DB4DE1-0251-4DFA-B1EB-BF1E5B4340D5}" presName="hierRoot2" presStyleCnt="0">
        <dgm:presLayoutVars>
          <dgm:hierBranch val="init"/>
        </dgm:presLayoutVars>
      </dgm:prSet>
      <dgm:spPr/>
    </dgm:pt>
    <dgm:pt modelId="{24BF3AA2-BC86-4A5C-94E7-1E3097CFD36B}" type="pres">
      <dgm:prSet presAssocID="{B4DB4DE1-0251-4DFA-B1EB-BF1E5B4340D5}" presName="rootComposite" presStyleCnt="0"/>
      <dgm:spPr/>
    </dgm:pt>
    <dgm:pt modelId="{76DF6B08-D5D1-4992-95E2-F0D81EA3F813}" type="pres">
      <dgm:prSet presAssocID="{B4DB4DE1-0251-4DFA-B1EB-BF1E5B4340D5}" presName="rootText" presStyleLbl="node3" presStyleIdx="6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66DE0653-E359-48D6-9573-FF35252BE7DA}" type="pres">
      <dgm:prSet presAssocID="{B4DB4DE1-0251-4DFA-B1EB-BF1E5B4340D5}" presName="rootConnector" presStyleLbl="node3" presStyleIdx="6" presStyleCnt="18"/>
      <dgm:spPr/>
      <dgm:t>
        <a:bodyPr/>
        <a:lstStyle/>
        <a:p>
          <a:endParaRPr lang="en-US"/>
        </a:p>
      </dgm:t>
    </dgm:pt>
    <dgm:pt modelId="{F10C4580-7814-4397-9C1A-1DEEF92A2E31}" type="pres">
      <dgm:prSet presAssocID="{B4DB4DE1-0251-4DFA-B1EB-BF1E5B4340D5}" presName="hierChild4" presStyleCnt="0"/>
      <dgm:spPr/>
    </dgm:pt>
    <dgm:pt modelId="{53178E72-B23F-4D67-8A58-E295F1B5FB9D}" type="pres">
      <dgm:prSet presAssocID="{B4DB4DE1-0251-4DFA-B1EB-BF1E5B4340D5}" presName="hierChild5" presStyleCnt="0"/>
      <dgm:spPr/>
    </dgm:pt>
    <dgm:pt modelId="{79465E73-6AFE-4B52-B29F-D4DDC6128985}" type="pres">
      <dgm:prSet presAssocID="{A848C1CD-95AF-442B-8C7F-A4AABB57A9C4}" presName="hierChild5" presStyleCnt="0"/>
      <dgm:spPr/>
    </dgm:pt>
    <dgm:pt modelId="{128209D3-18F5-42F3-B19B-418F3E41542D}" type="pres">
      <dgm:prSet presAssocID="{0BB7286F-A28B-41AC-9DF5-124B085CD6B0}" presName="Name37" presStyleLbl="parChTrans1D2" presStyleIdx="3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5196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E81186D2-E81B-4639-83E1-0439E05F90CF}" type="pres">
      <dgm:prSet presAssocID="{54CEA2C1-7030-48AE-8128-3966D1EC0E0E}" presName="hierRoot2" presStyleCnt="0">
        <dgm:presLayoutVars>
          <dgm:hierBranch val="init"/>
        </dgm:presLayoutVars>
      </dgm:prSet>
      <dgm:spPr/>
    </dgm:pt>
    <dgm:pt modelId="{016A32AD-D761-4D29-B69B-C723C9069D9A}" type="pres">
      <dgm:prSet presAssocID="{54CEA2C1-7030-48AE-8128-3966D1EC0E0E}" presName="rootComposite" presStyleCnt="0"/>
      <dgm:spPr/>
    </dgm:pt>
    <dgm:pt modelId="{1858FE6F-C78B-4223-A3E3-2DDC25316B80}" type="pres">
      <dgm:prSet presAssocID="{54CEA2C1-7030-48AE-8128-3966D1EC0E0E}" presName="rootText" presStyleLbl="node2" presStyleIdx="3" presStyleCnt="7" custScaleX="121553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8074D157-92D0-4D70-A944-948F93C8C128}" type="pres">
      <dgm:prSet presAssocID="{54CEA2C1-7030-48AE-8128-3966D1EC0E0E}" presName="rootConnector" presStyleLbl="node2" presStyleIdx="3" presStyleCnt="7"/>
      <dgm:spPr/>
      <dgm:t>
        <a:bodyPr/>
        <a:lstStyle/>
        <a:p>
          <a:endParaRPr lang="en-US"/>
        </a:p>
      </dgm:t>
    </dgm:pt>
    <dgm:pt modelId="{16F18522-8B42-406B-88E6-775E1288058D}" type="pres">
      <dgm:prSet presAssocID="{54CEA2C1-7030-48AE-8128-3966D1EC0E0E}" presName="hierChild4" presStyleCnt="0"/>
      <dgm:spPr/>
    </dgm:pt>
    <dgm:pt modelId="{FCD4641F-6696-4456-9D5C-7858B585773B}" type="pres">
      <dgm:prSet presAssocID="{EA606285-4BA0-460E-BD44-F23EA8983760}" presName="Name37" presStyleLbl="parChTrans1D3" presStyleIdx="7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31945" y="332886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761D9387-58C4-4BFD-8886-1F9BC51557BE}" type="pres">
      <dgm:prSet presAssocID="{74EC88DB-2A85-4379-917D-7BD4F1EB44E6}" presName="hierRoot2" presStyleCnt="0">
        <dgm:presLayoutVars>
          <dgm:hierBranch val="init"/>
        </dgm:presLayoutVars>
      </dgm:prSet>
      <dgm:spPr/>
    </dgm:pt>
    <dgm:pt modelId="{648AF8CE-53FF-4D5A-9D92-C8507C8280E2}" type="pres">
      <dgm:prSet presAssocID="{74EC88DB-2A85-4379-917D-7BD4F1EB44E6}" presName="rootComposite" presStyleCnt="0"/>
      <dgm:spPr/>
    </dgm:pt>
    <dgm:pt modelId="{17F31B5D-C300-4621-B8B3-9A1859DB7A28}" type="pres">
      <dgm:prSet presAssocID="{74EC88DB-2A85-4379-917D-7BD4F1EB44E6}" presName="rootText" presStyleLbl="node3" presStyleIdx="7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B105AF55-D83B-43B9-8D82-9B6C2C454344}" type="pres">
      <dgm:prSet presAssocID="{74EC88DB-2A85-4379-917D-7BD4F1EB44E6}" presName="rootConnector" presStyleLbl="node3" presStyleIdx="7" presStyleCnt="18"/>
      <dgm:spPr/>
      <dgm:t>
        <a:bodyPr/>
        <a:lstStyle/>
        <a:p>
          <a:endParaRPr lang="en-US"/>
        </a:p>
      </dgm:t>
    </dgm:pt>
    <dgm:pt modelId="{9D4B57C4-8DA6-4A44-AB9D-C2C706F84763}" type="pres">
      <dgm:prSet presAssocID="{74EC88DB-2A85-4379-917D-7BD4F1EB44E6}" presName="hierChild4" presStyleCnt="0"/>
      <dgm:spPr/>
    </dgm:pt>
    <dgm:pt modelId="{C4CF1222-2AB9-4B1C-A3AC-84781F782F20}" type="pres">
      <dgm:prSet presAssocID="{74EC88DB-2A85-4379-917D-7BD4F1EB44E6}" presName="hierChild5" presStyleCnt="0"/>
      <dgm:spPr/>
    </dgm:pt>
    <dgm:pt modelId="{B510177F-6E7D-4242-A120-62313E62588B}" type="pres">
      <dgm:prSet presAssocID="{1F796EC9-9EA0-49D7-9614-957DDD9A08A3}" presName="Name37" presStyleLbl="parChTrans1D3" presStyleIdx="8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31945" y="84668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0392A8B1-6CE8-4290-BAE8-F7E704C6E1F7}" type="pres">
      <dgm:prSet presAssocID="{46394B59-0DDD-4E4D-9F00-4A97BFBBBACE}" presName="hierRoot2" presStyleCnt="0">
        <dgm:presLayoutVars>
          <dgm:hierBranch val="init"/>
        </dgm:presLayoutVars>
      </dgm:prSet>
      <dgm:spPr/>
    </dgm:pt>
    <dgm:pt modelId="{1B41A424-7D20-46FE-9E21-FEAC9E89D04D}" type="pres">
      <dgm:prSet presAssocID="{46394B59-0DDD-4E4D-9F00-4A97BFBBBACE}" presName="rootComposite" presStyleCnt="0"/>
      <dgm:spPr/>
    </dgm:pt>
    <dgm:pt modelId="{5F1A8E89-CAEA-4CF6-8B6D-495DC52FE8C0}" type="pres">
      <dgm:prSet presAssocID="{46394B59-0DDD-4E4D-9F00-4A97BFBBBACE}" presName="rootText" presStyleLbl="node3" presStyleIdx="8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4015D5E4-EA2B-4394-813B-516065B681D4}" type="pres">
      <dgm:prSet presAssocID="{46394B59-0DDD-4E4D-9F00-4A97BFBBBACE}" presName="rootConnector" presStyleLbl="node3" presStyleIdx="8" presStyleCnt="18"/>
      <dgm:spPr/>
      <dgm:t>
        <a:bodyPr/>
        <a:lstStyle/>
        <a:p>
          <a:endParaRPr lang="en-US"/>
        </a:p>
      </dgm:t>
    </dgm:pt>
    <dgm:pt modelId="{EE571436-D023-4962-9012-5355B285DAB2}" type="pres">
      <dgm:prSet presAssocID="{46394B59-0DDD-4E4D-9F00-4A97BFBBBACE}" presName="hierChild4" presStyleCnt="0"/>
      <dgm:spPr/>
    </dgm:pt>
    <dgm:pt modelId="{EA1EC836-861A-40AE-9751-AAC758BA8AB5}" type="pres">
      <dgm:prSet presAssocID="{46394B59-0DDD-4E4D-9F00-4A97BFBBBACE}" presName="hierChild5" presStyleCnt="0"/>
      <dgm:spPr/>
    </dgm:pt>
    <dgm:pt modelId="{B56C6309-D84E-44F9-ADCE-46D8EB055A9D}" type="pres">
      <dgm:prSet presAssocID="{54CEA2C1-7030-48AE-8128-3966D1EC0E0E}" presName="hierChild5" presStyleCnt="0"/>
      <dgm:spPr/>
    </dgm:pt>
    <dgm:pt modelId="{1E64F1C5-562D-4688-A0A4-2AE9ADCD5A4F}" type="pres">
      <dgm:prSet presAssocID="{3F21C947-DE5C-4EB8-953E-029BCE470BF6}" presName="Name37" presStyleLbl="parChTrans1D2" presStyleIdx="4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984"/>
              </a:lnTo>
              <a:lnTo>
                <a:pt x="953622" y="75984"/>
              </a:lnTo>
              <a:lnTo>
                <a:pt x="953622" y="15196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C2D73A47-90D1-4228-8659-4C85B360F773}" type="pres">
      <dgm:prSet presAssocID="{5CB85BEC-491E-42F7-A088-01B3679D908A}" presName="hierRoot2" presStyleCnt="0">
        <dgm:presLayoutVars>
          <dgm:hierBranch val="init"/>
        </dgm:presLayoutVars>
      </dgm:prSet>
      <dgm:spPr/>
    </dgm:pt>
    <dgm:pt modelId="{675B1A12-E978-4F40-8C26-99E8D73EAE8A}" type="pres">
      <dgm:prSet presAssocID="{5CB85BEC-491E-42F7-A088-01B3679D908A}" presName="rootComposite" presStyleCnt="0"/>
      <dgm:spPr/>
    </dgm:pt>
    <dgm:pt modelId="{E2997279-5AC9-4AE8-ABAE-BB36E66BCB77}" type="pres">
      <dgm:prSet presAssocID="{5CB85BEC-491E-42F7-A088-01B3679D908A}" presName="rootText" presStyleLbl="node2" presStyleIdx="4" presStyleCnt="7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23276A55-82B8-49A2-9B79-0FC3801BDB8D}" type="pres">
      <dgm:prSet presAssocID="{5CB85BEC-491E-42F7-A088-01B3679D908A}" presName="rootConnector" presStyleLbl="node2" presStyleIdx="4" presStyleCnt="7"/>
      <dgm:spPr/>
      <dgm:t>
        <a:bodyPr/>
        <a:lstStyle/>
        <a:p>
          <a:endParaRPr lang="en-US"/>
        </a:p>
      </dgm:t>
    </dgm:pt>
    <dgm:pt modelId="{C5330904-F273-4C14-9AD9-0532FF3E0CAA}" type="pres">
      <dgm:prSet presAssocID="{5CB85BEC-491E-42F7-A088-01B3679D908A}" presName="hierChild4" presStyleCnt="0"/>
      <dgm:spPr/>
    </dgm:pt>
    <dgm:pt modelId="{5131DF19-833B-478D-9D1E-642CB526C689}" type="pres">
      <dgm:prSet presAssocID="{78711B40-1913-4516-A619-86E507E54782}" presName="Name37" presStyleLbl="parChTrans1D3" presStyleIdx="9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19295FFB-1844-46FA-841F-3F3EAFA2D278}" type="pres">
      <dgm:prSet presAssocID="{32DBFB62-BEB0-4159-9FA2-0567C9646C72}" presName="hierRoot2" presStyleCnt="0">
        <dgm:presLayoutVars>
          <dgm:hierBranch val="init"/>
        </dgm:presLayoutVars>
      </dgm:prSet>
      <dgm:spPr/>
    </dgm:pt>
    <dgm:pt modelId="{6155D2D5-6E21-4075-8EB0-8F5F9632A62E}" type="pres">
      <dgm:prSet presAssocID="{32DBFB62-BEB0-4159-9FA2-0567C9646C72}" presName="rootComposite" presStyleCnt="0"/>
      <dgm:spPr/>
    </dgm:pt>
    <dgm:pt modelId="{1696E2A7-381C-44B6-B84C-951A6A22C0DB}" type="pres">
      <dgm:prSet presAssocID="{32DBFB62-BEB0-4159-9FA2-0567C9646C72}" presName="rootText" presStyleLbl="node3" presStyleIdx="9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E7E74F7B-65AB-47AA-9B4E-66586BA0916C}" type="pres">
      <dgm:prSet presAssocID="{32DBFB62-BEB0-4159-9FA2-0567C9646C72}" presName="rootConnector" presStyleLbl="node3" presStyleIdx="9" presStyleCnt="18"/>
      <dgm:spPr/>
      <dgm:t>
        <a:bodyPr/>
        <a:lstStyle/>
        <a:p>
          <a:endParaRPr lang="en-US"/>
        </a:p>
      </dgm:t>
    </dgm:pt>
    <dgm:pt modelId="{ADBB43F5-1EEE-4096-9D3E-FD7BE1EB8F45}" type="pres">
      <dgm:prSet presAssocID="{32DBFB62-BEB0-4159-9FA2-0567C9646C72}" presName="hierChild4" presStyleCnt="0"/>
      <dgm:spPr/>
    </dgm:pt>
    <dgm:pt modelId="{68701006-FF09-423A-BC08-6F0AFB8E690E}" type="pres">
      <dgm:prSet presAssocID="{32DBFB62-BEB0-4159-9FA2-0567C9646C72}" presName="hierChild5" presStyleCnt="0"/>
      <dgm:spPr/>
    </dgm:pt>
    <dgm:pt modelId="{05DD5D46-D480-4599-B6D1-B58A39F43BDC}" type="pres">
      <dgm:prSet presAssocID="{873BE51D-9533-4623-B0D4-2374EA4E57F0}" presName="Name37" presStyleLbl="parChTrans1D3" presStyleIdx="10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D276EF14-47F2-4707-8000-E693301E05CD}" type="pres">
      <dgm:prSet presAssocID="{CCAC254D-1006-400E-8627-617D0B13BE23}" presName="hierRoot2" presStyleCnt="0">
        <dgm:presLayoutVars>
          <dgm:hierBranch val="init"/>
        </dgm:presLayoutVars>
      </dgm:prSet>
      <dgm:spPr/>
    </dgm:pt>
    <dgm:pt modelId="{72E4EFF9-92C7-407C-9F54-57397C8CCD24}" type="pres">
      <dgm:prSet presAssocID="{CCAC254D-1006-400E-8627-617D0B13BE23}" presName="rootComposite" presStyleCnt="0"/>
      <dgm:spPr/>
    </dgm:pt>
    <dgm:pt modelId="{AB4AD639-C0AD-4213-A847-C8A37F76A6BB}" type="pres">
      <dgm:prSet presAssocID="{CCAC254D-1006-400E-8627-617D0B13BE23}" presName="rootText" presStyleLbl="node3" presStyleIdx="10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CF2DC1A8-7A46-4EC9-8746-7B13422AFDAD}" type="pres">
      <dgm:prSet presAssocID="{CCAC254D-1006-400E-8627-617D0B13BE23}" presName="rootConnector" presStyleLbl="node3" presStyleIdx="10" presStyleCnt="18"/>
      <dgm:spPr/>
      <dgm:t>
        <a:bodyPr/>
        <a:lstStyle/>
        <a:p>
          <a:endParaRPr lang="en-US"/>
        </a:p>
      </dgm:t>
    </dgm:pt>
    <dgm:pt modelId="{F1EEE770-C0AA-46E6-9120-7F68B6B51298}" type="pres">
      <dgm:prSet presAssocID="{CCAC254D-1006-400E-8627-617D0B13BE23}" presName="hierChild4" presStyleCnt="0"/>
      <dgm:spPr/>
    </dgm:pt>
    <dgm:pt modelId="{0EF98FAE-ECED-406F-8273-658E8BF87EAB}" type="pres">
      <dgm:prSet presAssocID="{CCAC254D-1006-400E-8627-617D0B13BE23}" presName="hierChild5" presStyleCnt="0"/>
      <dgm:spPr/>
    </dgm:pt>
    <dgm:pt modelId="{989BB5C3-A9D6-42FE-BD31-AFA28ED24E16}" type="pres">
      <dgm:prSet presAssocID="{92A2E1DC-5AAA-4E8B-BE3D-85DDF5AC3205}" presName="Name37" presStyleLbl="parChTrans1D3" presStyleIdx="11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493"/>
              </a:lnTo>
              <a:lnTo>
                <a:pt x="108549" y="1360493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0ABDC1A7-883D-412B-97C3-8C784BBFCE72}" type="pres">
      <dgm:prSet presAssocID="{510629E7-4E09-4D74-9030-3F90E2E86F21}" presName="hierRoot2" presStyleCnt="0">
        <dgm:presLayoutVars>
          <dgm:hierBranch val="init"/>
        </dgm:presLayoutVars>
      </dgm:prSet>
      <dgm:spPr/>
    </dgm:pt>
    <dgm:pt modelId="{2A9A366B-201D-4D48-8DDA-8E0DC22F8448}" type="pres">
      <dgm:prSet presAssocID="{510629E7-4E09-4D74-9030-3F90E2E86F21}" presName="rootComposite" presStyleCnt="0"/>
      <dgm:spPr/>
    </dgm:pt>
    <dgm:pt modelId="{05158794-07A8-424B-8B14-3F384166DEF9}" type="pres">
      <dgm:prSet presAssocID="{510629E7-4E09-4D74-9030-3F90E2E86F21}" presName="rootText" presStyleLbl="node3" presStyleIdx="11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83CBFCC4-FD81-4572-8C32-90316BB787A8}" type="pres">
      <dgm:prSet presAssocID="{510629E7-4E09-4D74-9030-3F90E2E86F21}" presName="rootConnector" presStyleLbl="node3" presStyleIdx="11" presStyleCnt="18"/>
      <dgm:spPr/>
      <dgm:t>
        <a:bodyPr/>
        <a:lstStyle/>
        <a:p>
          <a:endParaRPr lang="en-US"/>
        </a:p>
      </dgm:t>
    </dgm:pt>
    <dgm:pt modelId="{7270F88E-F5EF-4738-86BF-EFD7E04D1639}" type="pres">
      <dgm:prSet presAssocID="{510629E7-4E09-4D74-9030-3F90E2E86F21}" presName="hierChild4" presStyleCnt="0"/>
      <dgm:spPr/>
    </dgm:pt>
    <dgm:pt modelId="{AA292D48-AAD6-447D-B719-19A4D4371F31}" type="pres">
      <dgm:prSet presAssocID="{510629E7-4E09-4D74-9030-3F90E2E86F21}" presName="hierChild5" presStyleCnt="0"/>
      <dgm:spPr/>
    </dgm:pt>
    <dgm:pt modelId="{7ADEE37A-DAFB-4DFE-9B4B-0DE1C5C6EB5E}" type="pres">
      <dgm:prSet presAssocID="{5CB85BEC-491E-42F7-A088-01B3679D908A}" presName="hierChild5" presStyleCnt="0"/>
      <dgm:spPr/>
    </dgm:pt>
    <dgm:pt modelId="{F2E3AEC8-FCA7-4183-9658-A9EE6906F75A}" type="pres">
      <dgm:prSet presAssocID="{00382FB4-B4E9-4C71-85C0-85DA2DB2431D}" presName="Name37" presStyleLbl="parChTrans1D2" presStyleIdx="5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984"/>
              </a:lnTo>
              <a:lnTo>
                <a:pt x="1829259" y="75984"/>
              </a:lnTo>
              <a:lnTo>
                <a:pt x="1829259" y="15196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A96C4F64-AAA8-46CC-A39B-A50E8ED302EE}" type="pres">
      <dgm:prSet presAssocID="{FB5D24E9-F41F-4C14-94B2-8EDFAE14C1F9}" presName="hierRoot2" presStyleCnt="0">
        <dgm:presLayoutVars>
          <dgm:hierBranch val="init"/>
        </dgm:presLayoutVars>
      </dgm:prSet>
      <dgm:spPr/>
    </dgm:pt>
    <dgm:pt modelId="{4D05D4BA-2940-4048-BE4F-68F3172C858B}" type="pres">
      <dgm:prSet presAssocID="{FB5D24E9-F41F-4C14-94B2-8EDFAE14C1F9}" presName="rootComposite" presStyleCnt="0"/>
      <dgm:spPr/>
    </dgm:pt>
    <dgm:pt modelId="{ABC94E04-8293-493D-8514-31CFFE0E6F45}" type="pres">
      <dgm:prSet presAssocID="{FB5D24E9-F41F-4C14-94B2-8EDFAE14C1F9}" presName="rootText" presStyleLbl="node2" presStyleIdx="5" presStyleCnt="7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D803CB76-A6EA-4964-8B83-70309C86F6A9}" type="pres">
      <dgm:prSet presAssocID="{FB5D24E9-F41F-4C14-94B2-8EDFAE14C1F9}" presName="rootConnector" presStyleLbl="node2" presStyleIdx="5" presStyleCnt="7"/>
      <dgm:spPr/>
      <dgm:t>
        <a:bodyPr/>
        <a:lstStyle/>
        <a:p>
          <a:endParaRPr lang="en-US"/>
        </a:p>
      </dgm:t>
    </dgm:pt>
    <dgm:pt modelId="{1F969C0E-C979-45FE-AC2C-3E3476E6C056}" type="pres">
      <dgm:prSet presAssocID="{FB5D24E9-F41F-4C14-94B2-8EDFAE14C1F9}" presName="hierChild4" presStyleCnt="0"/>
      <dgm:spPr/>
    </dgm:pt>
    <dgm:pt modelId="{FB79EBC6-8BD0-466C-8BB4-C18323620429}" type="pres">
      <dgm:prSet presAssocID="{121C0B4F-E379-41AF-92B2-807DD467307F}" presName="Name37" presStyleLbl="parChTrans1D3" presStyleIdx="12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8A20A619-1209-4BD8-8018-0EF8DA182F5D}" type="pres">
      <dgm:prSet presAssocID="{5E722FEB-A94B-4572-BC11-05BD026D1AC3}" presName="hierRoot2" presStyleCnt="0">
        <dgm:presLayoutVars>
          <dgm:hierBranch val="init"/>
        </dgm:presLayoutVars>
      </dgm:prSet>
      <dgm:spPr/>
    </dgm:pt>
    <dgm:pt modelId="{FF4B5BB3-095E-4FCC-B4C5-704FF5AEEF9C}" type="pres">
      <dgm:prSet presAssocID="{5E722FEB-A94B-4572-BC11-05BD026D1AC3}" presName="rootComposite" presStyleCnt="0"/>
      <dgm:spPr/>
    </dgm:pt>
    <dgm:pt modelId="{D129407A-E674-4CCC-9D4D-39CCD5F992B7}" type="pres">
      <dgm:prSet presAssocID="{5E722FEB-A94B-4572-BC11-05BD026D1AC3}" presName="rootText" presStyleLbl="node3" presStyleIdx="12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E7EA0F8B-DC9F-4D1C-A0EA-645195BE1F96}" type="pres">
      <dgm:prSet presAssocID="{5E722FEB-A94B-4572-BC11-05BD026D1AC3}" presName="rootConnector" presStyleLbl="node3" presStyleIdx="12" presStyleCnt="18"/>
      <dgm:spPr/>
      <dgm:t>
        <a:bodyPr/>
        <a:lstStyle/>
        <a:p>
          <a:endParaRPr lang="en-US"/>
        </a:p>
      </dgm:t>
    </dgm:pt>
    <dgm:pt modelId="{DD930597-B810-40E6-99BD-EB6254AE4CE6}" type="pres">
      <dgm:prSet presAssocID="{5E722FEB-A94B-4572-BC11-05BD026D1AC3}" presName="hierChild4" presStyleCnt="0"/>
      <dgm:spPr/>
    </dgm:pt>
    <dgm:pt modelId="{61822ABB-1449-4B1B-9988-407CD0F1F1B6}" type="pres">
      <dgm:prSet presAssocID="{5E722FEB-A94B-4572-BC11-05BD026D1AC3}" presName="hierChild5" presStyleCnt="0"/>
      <dgm:spPr/>
    </dgm:pt>
    <dgm:pt modelId="{92CEEC79-63CF-479E-A0CE-929B08B48AA5}" type="pres">
      <dgm:prSet presAssocID="{4F25A1EB-9F96-4B9B-B1A7-FCE51AC7BBCD}" presName="Name37" presStyleLbl="parChTrans1D3" presStyleIdx="13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F39C9D03-2F79-46CD-B068-D53CBFBFB019}" type="pres">
      <dgm:prSet presAssocID="{622CF3ED-1A22-4FDC-AB40-ED399D443CAE}" presName="hierRoot2" presStyleCnt="0">
        <dgm:presLayoutVars>
          <dgm:hierBranch val="init"/>
        </dgm:presLayoutVars>
      </dgm:prSet>
      <dgm:spPr/>
    </dgm:pt>
    <dgm:pt modelId="{0979CD15-C6E4-43F8-B699-6606E0A4A429}" type="pres">
      <dgm:prSet presAssocID="{622CF3ED-1A22-4FDC-AB40-ED399D443CAE}" presName="rootComposite" presStyleCnt="0"/>
      <dgm:spPr/>
    </dgm:pt>
    <dgm:pt modelId="{9DE424CA-244B-4461-BB9A-C1C9B57E85CD}" type="pres">
      <dgm:prSet presAssocID="{622CF3ED-1A22-4FDC-AB40-ED399D443CAE}" presName="rootText" presStyleLbl="node3" presStyleIdx="13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702B7380-F0E9-4DDC-96C0-6EF2DC20F7EE}" type="pres">
      <dgm:prSet presAssocID="{622CF3ED-1A22-4FDC-AB40-ED399D443CAE}" presName="rootConnector" presStyleLbl="node3" presStyleIdx="13" presStyleCnt="18"/>
      <dgm:spPr/>
      <dgm:t>
        <a:bodyPr/>
        <a:lstStyle/>
        <a:p>
          <a:endParaRPr lang="en-US"/>
        </a:p>
      </dgm:t>
    </dgm:pt>
    <dgm:pt modelId="{62C28A02-8818-4C32-8774-DB2FD6B19CBB}" type="pres">
      <dgm:prSet presAssocID="{622CF3ED-1A22-4FDC-AB40-ED399D443CAE}" presName="hierChild4" presStyleCnt="0"/>
      <dgm:spPr/>
    </dgm:pt>
    <dgm:pt modelId="{E9B32DFC-1491-4B27-943D-FFEA552802CA}" type="pres">
      <dgm:prSet presAssocID="{622CF3ED-1A22-4FDC-AB40-ED399D443CAE}" presName="hierChild5" presStyleCnt="0"/>
      <dgm:spPr/>
    </dgm:pt>
    <dgm:pt modelId="{DA55687F-B621-461F-A807-A02EFD0757C7}" type="pres">
      <dgm:prSet presAssocID="{B4D4F00B-252C-412F-9809-E2FE90FCB5DB}" presName="Name37" presStyleLbl="parChTrans1D3" presStyleIdx="14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493"/>
              </a:lnTo>
              <a:lnTo>
                <a:pt x="108549" y="1360493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174FD8B7-E6D6-4354-B2B9-F097B17B6589}" type="pres">
      <dgm:prSet presAssocID="{4B0BC818-B900-46E8-91C0-92D2A764F060}" presName="hierRoot2" presStyleCnt="0">
        <dgm:presLayoutVars>
          <dgm:hierBranch val="init"/>
        </dgm:presLayoutVars>
      </dgm:prSet>
      <dgm:spPr/>
    </dgm:pt>
    <dgm:pt modelId="{9C66CB85-77DC-400A-A574-2E8086A6476E}" type="pres">
      <dgm:prSet presAssocID="{4B0BC818-B900-46E8-91C0-92D2A764F060}" presName="rootComposite" presStyleCnt="0"/>
      <dgm:spPr/>
    </dgm:pt>
    <dgm:pt modelId="{A0600CA1-6837-467A-BBE4-7C325553B306}" type="pres">
      <dgm:prSet presAssocID="{4B0BC818-B900-46E8-91C0-92D2A764F060}" presName="rootText" presStyleLbl="node3" presStyleIdx="14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BCEC2044-0670-4CF7-92A8-DDF7BC0A2B34}" type="pres">
      <dgm:prSet presAssocID="{4B0BC818-B900-46E8-91C0-92D2A764F060}" presName="rootConnector" presStyleLbl="node3" presStyleIdx="14" presStyleCnt="18"/>
      <dgm:spPr/>
      <dgm:t>
        <a:bodyPr/>
        <a:lstStyle/>
        <a:p>
          <a:endParaRPr lang="en-US"/>
        </a:p>
      </dgm:t>
    </dgm:pt>
    <dgm:pt modelId="{60F8CD5C-F116-4C91-9C3E-F0F7FC221B96}" type="pres">
      <dgm:prSet presAssocID="{4B0BC818-B900-46E8-91C0-92D2A764F060}" presName="hierChild4" presStyleCnt="0"/>
      <dgm:spPr/>
    </dgm:pt>
    <dgm:pt modelId="{307FFCA4-1D87-435C-AC0A-6B0E32D91647}" type="pres">
      <dgm:prSet presAssocID="{4B0BC818-B900-46E8-91C0-92D2A764F060}" presName="hierChild5" presStyleCnt="0"/>
      <dgm:spPr/>
    </dgm:pt>
    <dgm:pt modelId="{24A50CB2-964A-4084-92EC-9A771F87520C}" type="pres">
      <dgm:prSet presAssocID="{FB5D24E9-F41F-4C14-94B2-8EDFAE14C1F9}" presName="hierChild5" presStyleCnt="0"/>
      <dgm:spPr/>
    </dgm:pt>
    <dgm:pt modelId="{370E837C-62E3-48AA-A2C8-E15C50F40248}" type="pres">
      <dgm:prSet presAssocID="{29833FD4-6F66-45CC-8A53-1036F66AEC12}" presName="Name37" presStyleLbl="parChTrans1D2" presStyleIdx="6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984"/>
              </a:lnTo>
              <a:lnTo>
                <a:pt x="2704895" y="75984"/>
              </a:lnTo>
              <a:lnTo>
                <a:pt x="2704895" y="15196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8DF93F3C-20A7-4DF0-9669-7FCBCE895818}" type="pres">
      <dgm:prSet presAssocID="{58F791C2-F358-4EDC-B2F9-2155A3A81519}" presName="hierRoot2" presStyleCnt="0">
        <dgm:presLayoutVars>
          <dgm:hierBranch val="init"/>
        </dgm:presLayoutVars>
      </dgm:prSet>
      <dgm:spPr/>
    </dgm:pt>
    <dgm:pt modelId="{5897CDAF-F39F-4EDF-8CCD-1330CBA7496F}" type="pres">
      <dgm:prSet presAssocID="{58F791C2-F358-4EDC-B2F9-2155A3A81519}" presName="rootComposite" presStyleCnt="0"/>
      <dgm:spPr/>
    </dgm:pt>
    <dgm:pt modelId="{6364127C-9824-4DC7-9C34-4082163B24A4}" type="pres">
      <dgm:prSet presAssocID="{58F791C2-F358-4EDC-B2F9-2155A3A81519}" presName="rootText" presStyleLbl="node2" presStyleIdx="6" presStyleCnt="7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ACD1B44D-AEE6-483A-9AB3-16F968A35EDB}" type="pres">
      <dgm:prSet presAssocID="{58F791C2-F358-4EDC-B2F9-2155A3A81519}" presName="rootConnector" presStyleLbl="node2" presStyleIdx="6" presStyleCnt="7"/>
      <dgm:spPr/>
      <dgm:t>
        <a:bodyPr/>
        <a:lstStyle/>
        <a:p>
          <a:endParaRPr lang="en-US"/>
        </a:p>
      </dgm:t>
    </dgm:pt>
    <dgm:pt modelId="{C33CBAEC-BAD4-4A3F-A91C-AB67AB8999D0}" type="pres">
      <dgm:prSet presAssocID="{58F791C2-F358-4EDC-B2F9-2155A3A81519}" presName="hierChild4" presStyleCnt="0"/>
      <dgm:spPr/>
    </dgm:pt>
    <dgm:pt modelId="{3C793CCD-6273-416E-98FF-DE4E399C9433}" type="pres">
      <dgm:prSet presAssocID="{D2B65621-954E-4775-9E11-E5EDE5E72A99}" presName="Name37" presStyleLbl="parChTrans1D3" presStyleIdx="15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A5A46D79-C0A3-4D96-98CE-051573A5F33F}" type="pres">
      <dgm:prSet presAssocID="{2D9B14C8-29E4-4B09-88D5-ECDBC7EDA20A}" presName="hierRoot2" presStyleCnt="0">
        <dgm:presLayoutVars>
          <dgm:hierBranch val="init"/>
        </dgm:presLayoutVars>
      </dgm:prSet>
      <dgm:spPr/>
    </dgm:pt>
    <dgm:pt modelId="{B904D50E-07EC-426C-824A-93A9544608FE}" type="pres">
      <dgm:prSet presAssocID="{2D9B14C8-29E4-4B09-88D5-ECDBC7EDA20A}" presName="rootComposite" presStyleCnt="0"/>
      <dgm:spPr/>
    </dgm:pt>
    <dgm:pt modelId="{A6A0AFEF-CA0B-414F-A5D3-50E898202EF9}" type="pres">
      <dgm:prSet presAssocID="{2D9B14C8-29E4-4B09-88D5-ECDBC7EDA20A}" presName="rootText" presStyleLbl="node3" presStyleIdx="15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F141C118-D5D1-46A1-B30A-4F9A92F67BA0}" type="pres">
      <dgm:prSet presAssocID="{2D9B14C8-29E4-4B09-88D5-ECDBC7EDA20A}" presName="rootConnector" presStyleLbl="node3" presStyleIdx="15" presStyleCnt="18"/>
      <dgm:spPr/>
      <dgm:t>
        <a:bodyPr/>
        <a:lstStyle/>
        <a:p>
          <a:endParaRPr lang="en-US"/>
        </a:p>
      </dgm:t>
    </dgm:pt>
    <dgm:pt modelId="{189B629D-7B85-456E-B9E4-F556FAD31AB6}" type="pres">
      <dgm:prSet presAssocID="{2D9B14C8-29E4-4B09-88D5-ECDBC7EDA20A}" presName="hierChild4" presStyleCnt="0"/>
      <dgm:spPr/>
    </dgm:pt>
    <dgm:pt modelId="{F985B63E-E467-4AA4-942B-4A9EC22BED82}" type="pres">
      <dgm:prSet presAssocID="{2D9B14C8-29E4-4B09-88D5-ECDBC7EDA20A}" presName="hierChild5" presStyleCnt="0"/>
      <dgm:spPr/>
    </dgm:pt>
    <dgm:pt modelId="{0112E7A7-4971-45B6-86BD-F87362ADDE87}" type="pres">
      <dgm:prSet presAssocID="{6F292361-90A9-4F80-A25E-C4CA39D79F95}" presName="Name37" presStyleLbl="parChTrans1D3" presStyleIdx="16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5A29208B-9E0E-43A0-B1FD-87BE8B428D09}" type="pres">
      <dgm:prSet presAssocID="{880AEF86-30D9-4A5B-9951-D45E0B0B8A8C}" presName="hierRoot2" presStyleCnt="0">
        <dgm:presLayoutVars>
          <dgm:hierBranch val="init"/>
        </dgm:presLayoutVars>
      </dgm:prSet>
      <dgm:spPr/>
    </dgm:pt>
    <dgm:pt modelId="{EF799256-D9CB-4B4F-A8E9-E87C59833442}" type="pres">
      <dgm:prSet presAssocID="{880AEF86-30D9-4A5B-9951-D45E0B0B8A8C}" presName="rootComposite" presStyleCnt="0"/>
      <dgm:spPr/>
    </dgm:pt>
    <dgm:pt modelId="{3E05D4DB-58F3-4B21-9270-C394E5EBC039}" type="pres">
      <dgm:prSet presAssocID="{880AEF86-30D9-4A5B-9951-D45E0B0B8A8C}" presName="rootText" presStyleLbl="node3" presStyleIdx="16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E4BF2102-0AB2-49C9-B97F-D7733DD75710}" type="pres">
      <dgm:prSet presAssocID="{880AEF86-30D9-4A5B-9951-D45E0B0B8A8C}" presName="rootConnector" presStyleLbl="node3" presStyleIdx="16" presStyleCnt="18"/>
      <dgm:spPr/>
      <dgm:t>
        <a:bodyPr/>
        <a:lstStyle/>
        <a:p>
          <a:endParaRPr lang="en-US"/>
        </a:p>
      </dgm:t>
    </dgm:pt>
    <dgm:pt modelId="{B6B2524B-E56C-4D63-B680-2C5696F911B8}" type="pres">
      <dgm:prSet presAssocID="{880AEF86-30D9-4A5B-9951-D45E0B0B8A8C}" presName="hierChild4" presStyleCnt="0"/>
      <dgm:spPr/>
    </dgm:pt>
    <dgm:pt modelId="{CF5D859D-9EEF-4237-9F07-20DF73B0EC76}" type="pres">
      <dgm:prSet presAssocID="{880AEF86-30D9-4A5B-9951-D45E0B0B8A8C}" presName="hierChild5" presStyleCnt="0"/>
      <dgm:spPr/>
    </dgm:pt>
    <dgm:pt modelId="{AE89E0B0-E3AD-43B2-B12C-883A262263EC}" type="pres">
      <dgm:prSet presAssocID="{04739829-FCF8-4006-85B1-4112DA7AE5D9}" presName="Name37" presStyleLbl="parChTrans1D3" presStyleIdx="17" presStyleCnt="18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493"/>
              </a:lnTo>
              <a:lnTo>
                <a:pt x="108549" y="1360493"/>
              </a:lnTo>
            </a:path>
          </a:pathLst>
        </a:custGeom>
      </dgm:spPr>
      <dgm:t>
        <a:bodyPr/>
        <a:lstStyle/>
        <a:p>
          <a:endParaRPr lang="en-US"/>
        </a:p>
      </dgm:t>
    </dgm:pt>
    <dgm:pt modelId="{42E374F2-6941-4033-BEDB-7B7E00BB39FE}" type="pres">
      <dgm:prSet presAssocID="{54648569-7EEC-4AE4-AB4E-EF3C634EE8AE}" presName="hierRoot2" presStyleCnt="0">
        <dgm:presLayoutVars>
          <dgm:hierBranch val="init"/>
        </dgm:presLayoutVars>
      </dgm:prSet>
      <dgm:spPr/>
    </dgm:pt>
    <dgm:pt modelId="{83739A82-E457-4970-9678-05FCBB44B8F5}" type="pres">
      <dgm:prSet presAssocID="{54648569-7EEC-4AE4-AB4E-EF3C634EE8AE}" presName="rootComposite" presStyleCnt="0"/>
      <dgm:spPr/>
    </dgm:pt>
    <dgm:pt modelId="{1E5C411A-F8D1-4ED5-B181-745ACF12319B}" type="pres">
      <dgm:prSet presAssocID="{54648569-7EEC-4AE4-AB4E-EF3C634EE8AE}" presName="rootText" presStyleLbl="node3" presStyleIdx="17" presStyleCnt="1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8B091A8D-BDA6-41C0-AB54-1D0568040EC9}" type="pres">
      <dgm:prSet presAssocID="{54648569-7EEC-4AE4-AB4E-EF3C634EE8AE}" presName="rootConnector" presStyleLbl="node3" presStyleIdx="17" presStyleCnt="18"/>
      <dgm:spPr/>
      <dgm:t>
        <a:bodyPr/>
        <a:lstStyle/>
        <a:p>
          <a:endParaRPr lang="en-US"/>
        </a:p>
      </dgm:t>
    </dgm:pt>
    <dgm:pt modelId="{23AFA716-30AE-4244-9A10-4C787D631A26}" type="pres">
      <dgm:prSet presAssocID="{54648569-7EEC-4AE4-AB4E-EF3C634EE8AE}" presName="hierChild4" presStyleCnt="0"/>
      <dgm:spPr/>
    </dgm:pt>
    <dgm:pt modelId="{B4B04AE9-D7B9-4E2F-B958-F5D744B5B0EB}" type="pres">
      <dgm:prSet presAssocID="{54648569-7EEC-4AE4-AB4E-EF3C634EE8AE}" presName="hierChild5" presStyleCnt="0"/>
      <dgm:spPr/>
    </dgm:pt>
    <dgm:pt modelId="{6CCA966C-8A61-4337-B5A3-72ED02CED9E0}" type="pres">
      <dgm:prSet presAssocID="{58F791C2-F358-4EDC-B2F9-2155A3A81519}" presName="hierChild5" presStyleCnt="0"/>
      <dgm:spPr/>
    </dgm:pt>
    <dgm:pt modelId="{8B52FD13-1574-401F-B3F3-726CDFA1F186}" type="pres">
      <dgm:prSet presAssocID="{9ACCA313-1D45-4B46-9C3B-D770C55AABA3}" presName="hierChild3" presStyleCnt="0"/>
      <dgm:spPr/>
    </dgm:pt>
  </dgm:ptLst>
  <dgm:cxnLst>
    <dgm:cxn modelId="{A4513C00-0BFC-4F01-8121-4E7D6B1277C4}" type="presOf" srcId="{78711B40-1913-4516-A619-86E507E54782}" destId="{5131DF19-833B-478D-9D1E-642CB526C689}" srcOrd="0" destOrd="0" presId="urn:microsoft.com/office/officeart/2005/8/layout/orgChart1"/>
    <dgm:cxn modelId="{75B7D8E4-25EF-4CCA-AC04-7DA1CD3C3324}" type="presOf" srcId="{74EC88DB-2A85-4379-917D-7BD4F1EB44E6}" destId="{B105AF55-D83B-43B9-8D82-9B6C2C454344}" srcOrd="1" destOrd="0" presId="urn:microsoft.com/office/officeart/2005/8/layout/orgChart1"/>
    <dgm:cxn modelId="{3E9701CD-B073-4E85-BB69-7CB11A928228}" type="presOf" srcId="{1F796EC9-9EA0-49D7-9614-957DDD9A08A3}" destId="{B510177F-6E7D-4242-A120-62313E62588B}" srcOrd="0" destOrd="0" presId="urn:microsoft.com/office/officeart/2005/8/layout/orgChart1"/>
    <dgm:cxn modelId="{7E83E4C7-81B4-4867-91AC-2794625E5844}" srcId="{5CB85BEC-491E-42F7-A088-01B3679D908A}" destId="{CCAC254D-1006-400E-8627-617D0B13BE23}" srcOrd="1" destOrd="0" parTransId="{873BE51D-9533-4623-B0D4-2374EA4E57F0}" sibTransId="{70C2C94B-61E7-4481-A3EE-D6C721BA4B6E}"/>
    <dgm:cxn modelId="{57822626-ED4A-427E-A5D1-9335E82A0D31}" type="presOf" srcId="{C167B39E-4ADE-4F9F-BDFE-9D4702F8130D}" destId="{A86A52FB-EA04-473A-8538-8091D29470B9}" srcOrd="1" destOrd="0" presId="urn:microsoft.com/office/officeart/2005/8/layout/orgChart1"/>
    <dgm:cxn modelId="{77A5F764-FF09-49DD-89E7-9A6782060997}" type="presOf" srcId="{D39B9CB6-03D3-4C46-8EFD-7B46DE020F67}" destId="{BDDBFA6C-4B83-47AD-843F-3F1E8C5F32A0}" srcOrd="0" destOrd="0" presId="urn:microsoft.com/office/officeart/2005/8/layout/orgChart1"/>
    <dgm:cxn modelId="{7FEC48A9-E9C9-44AD-88CB-8CE972039AEE}" type="presOf" srcId="{873BE51D-9533-4623-B0D4-2374EA4E57F0}" destId="{05DD5D46-D480-4599-B6D1-B58A39F43BDC}" srcOrd="0" destOrd="0" presId="urn:microsoft.com/office/officeart/2005/8/layout/orgChart1"/>
    <dgm:cxn modelId="{A5B403A8-B650-4FF3-A8D5-92518AA06105}" type="presOf" srcId="{880AEF86-30D9-4A5B-9951-D45E0B0B8A8C}" destId="{E4BF2102-0AB2-49C9-B97F-D7733DD75710}" srcOrd="1" destOrd="0" presId="urn:microsoft.com/office/officeart/2005/8/layout/orgChart1"/>
    <dgm:cxn modelId="{69684A27-D809-40B4-BD4B-6D8682568763}" srcId="{044064EA-4B97-4511-8678-D835E04968D1}" destId="{A0CB8F3F-993A-42DD-A0FC-20AD87E0E00A}" srcOrd="0" destOrd="0" parTransId="{7EACB5AC-7A9B-4D9F-AF05-FAE33AB51D81}" sibTransId="{48FC7460-E300-4205-A01C-D53801DC11AA}"/>
    <dgm:cxn modelId="{6922A123-C529-4FEE-BAEB-B5295674D581}" type="presOf" srcId="{5E722FEB-A94B-4572-BC11-05BD026D1AC3}" destId="{D129407A-E674-4CCC-9D4D-39CCD5F992B7}" srcOrd="0" destOrd="0" presId="urn:microsoft.com/office/officeart/2005/8/layout/orgChart1"/>
    <dgm:cxn modelId="{31A40D42-9714-472C-A650-79AEF1710DC9}" srcId="{58F791C2-F358-4EDC-B2F9-2155A3A81519}" destId="{880AEF86-30D9-4A5B-9951-D45E0B0B8A8C}" srcOrd="1" destOrd="0" parTransId="{6F292361-90A9-4F80-A25E-C4CA39D79F95}" sibTransId="{8E148ABC-CF25-4751-8163-96534546BC47}"/>
    <dgm:cxn modelId="{D031D68F-59AB-4849-A662-9ABC01DC996A}" type="presOf" srcId="{54CEA2C1-7030-48AE-8128-3966D1EC0E0E}" destId="{1858FE6F-C78B-4223-A3E3-2DDC25316B80}" srcOrd="0" destOrd="0" presId="urn:microsoft.com/office/officeart/2005/8/layout/orgChart1"/>
    <dgm:cxn modelId="{D5957D3C-CAF7-4F9D-856B-B1568DA36CE3}" type="presOf" srcId="{19E75CC8-BEAD-40AE-B2B8-A087FE8DB935}" destId="{BC05A892-D068-4E73-BF3C-3F3E039826E7}" srcOrd="0" destOrd="0" presId="urn:microsoft.com/office/officeart/2005/8/layout/orgChart1"/>
    <dgm:cxn modelId="{0951F357-C345-4CE8-AAB5-A11945F96B69}" type="presOf" srcId="{233C9CE1-5FD2-4462-BA9D-1E23DC361D5F}" destId="{A609C574-62A2-4CFC-8004-3CC32C7F538E}" srcOrd="0" destOrd="0" presId="urn:microsoft.com/office/officeart/2005/8/layout/orgChart1"/>
    <dgm:cxn modelId="{16B2FEAD-F7F2-46AF-ABAE-A46F72B374DA}" srcId="{54CEA2C1-7030-48AE-8128-3966D1EC0E0E}" destId="{46394B59-0DDD-4E4D-9F00-4A97BFBBBACE}" srcOrd="1" destOrd="0" parTransId="{1F796EC9-9EA0-49D7-9614-957DDD9A08A3}" sibTransId="{AD0DF488-4CEB-4945-B096-58970D4AAD29}"/>
    <dgm:cxn modelId="{5B47B549-15A6-45AA-9C17-C883D5FD2A50}" type="presOf" srcId="{2D9B14C8-29E4-4B09-88D5-ECDBC7EDA20A}" destId="{F141C118-D5D1-46A1-B30A-4F9A92F67BA0}" srcOrd="1" destOrd="0" presId="urn:microsoft.com/office/officeart/2005/8/layout/orgChart1"/>
    <dgm:cxn modelId="{10F19675-4C30-4216-B271-6B0C06B92F3F}" type="presOf" srcId="{A0CB8F3F-993A-42DD-A0FC-20AD87E0E00A}" destId="{1AC64A07-E561-4874-9257-89DE6750951C}" srcOrd="0" destOrd="0" presId="urn:microsoft.com/office/officeart/2005/8/layout/orgChart1"/>
    <dgm:cxn modelId="{3D4C3B13-2126-4F06-8489-0017FDE19C55}" srcId="{044064EA-4B97-4511-8678-D835E04968D1}" destId="{9D35C064-1BE1-4A7A-AB45-023F36D1214D}" srcOrd="2" destOrd="0" parTransId="{5853802A-B9D5-4FEC-9FB7-D3B9C38F81D1}" sibTransId="{22C39774-337B-44AC-B85E-9AD6BB3620A4}"/>
    <dgm:cxn modelId="{1EAEBF40-036A-4840-AD5F-D2C57386FEE1}" type="presOf" srcId="{4B0BC818-B900-46E8-91C0-92D2A764F060}" destId="{A0600CA1-6837-467A-BBE4-7C325553B306}" srcOrd="0" destOrd="0" presId="urn:microsoft.com/office/officeart/2005/8/layout/orgChart1"/>
    <dgm:cxn modelId="{B4F1C75C-C00C-4CEF-8654-3BD087933D64}" type="presOf" srcId="{CCAC254D-1006-400E-8627-617D0B13BE23}" destId="{AB4AD639-C0AD-4213-A847-C8A37F76A6BB}" srcOrd="0" destOrd="0" presId="urn:microsoft.com/office/officeart/2005/8/layout/orgChart1"/>
    <dgm:cxn modelId="{01DF8108-5061-4EFB-8A17-A33D602B0B79}" type="presOf" srcId="{4B0BC818-B900-46E8-91C0-92D2A764F060}" destId="{BCEC2044-0670-4CF7-92A8-DDF7BC0A2B34}" srcOrd="1" destOrd="0" presId="urn:microsoft.com/office/officeart/2005/8/layout/orgChart1"/>
    <dgm:cxn modelId="{724AAA9F-B98C-4C53-878C-5482F1D49926}" type="presOf" srcId="{9ACCA313-1D45-4B46-9C3B-D770C55AABA3}" destId="{47E0F2E6-C891-487D-A0B0-1BCEF73C04D9}" srcOrd="0" destOrd="0" presId="urn:microsoft.com/office/officeart/2005/8/layout/orgChart1"/>
    <dgm:cxn modelId="{74E0DD24-0A98-4773-B48D-B534E0A5D54B}" srcId="{9ACCA313-1D45-4B46-9C3B-D770C55AABA3}" destId="{54CEA2C1-7030-48AE-8128-3966D1EC0E0E}" srcOrd="3" destOrd="0" parTransId="{0BB7286F-A28B-41AC-9DF5-124B085CD6B0}" sibTransId="{8E961460-4A3E-4360-AD0D-27E2A62CCAA7}"/>
    <dgm:cxn modelId="{8624F460-C68E-4943-9BCF-21DCF24F9D2C}" type="presOf" srcId="{3F21C947-DE5C-4EB8-953E-029BCE470BF6}" destId="{1E64F1C5-562D-4688-A0A4-2AE9ADCD5A4F}" srcOrd="0" destOrd="0" presId="urn:microsoft.com/office/officeart/2005/8/layout/orgChart1"/>
    <dgm:cxn modelId="{780EED08-9286-4433-88EE-3844BEC29223}" type="presOf" srcId="{5853802A-B9D5-4FEC-9FB7-D3B9C38F81D1}" destId="{AC1EE9E3-B11A-4949-B3CA-C7D9CC494444}" srcOrd="0" destOrd="0" presId="urn:microsoft.com/office/officeart/2005/8/layout/orgChart1"/>
    <dgm:cxn modelId="{02F17897-AEDE-4738-BCBA-6AD647613B43}" type="presOf" srcId="{C4ABA5D0-54BF-4F32-B8D1-0A002DD1BC02}" destId="{5C437BFD-D3F8-4D08-896B-59278537265A}" srcOrd="0" destOrd="0" presId="urn:microsoft.com/office/officeart/2005/8/layout/orgChart1"/>
    <dgm:cxn modelId="{F97733B9-F94D-4CF1-8BD6-898E0D5A0893}" type="presOf" srcId="{FA493BF5-6879-48C8-91C0-23DECB55DF06}" destId="{FC460032-D689-459B-8474-0DD32576B01C}" srcOrd="0" destOrd="0" presId="urn:microsoft.com/office/officeart/2005/8/layout/orgChart1"/>
    <dgm:cxn modelId="{964BA872-1368-43A0-BBFC-DCEEBED2DAC6}" srcId="{9ACCA313-1D45-4B46-9C3B-D770C55AABA3}" destId="{FB5D24E9-F41F-4C14-94B2-8EDFAE14C1F9}" srcOrd="5" destOrd="0" parTransId="{00382FB4-B4E9-4C71-85C0-85DA2DB2431D}" sibTransId="{2202E97B-936A-4E6F-9E41-3D1559F63872}"/>
    <dgm:cxn modelId="{5D3FB4FB-5BBF-497C-8997-961998B3DA5E}" type="presOf" srcId="{4F25A1EB-9F96-4B9B-B1A7-FCE51AC7BBCD}" destId="{92CEEC79-63CF-479E-A0CE-929B08B48AA5}" srcOrd="0" destOrd="0" presId="urn:microsoft.com/office/officeart/2005/8/layout/orgChart1"/>
    <dgm:cxn modelId="{E5184D6E-581B-4C62-AD46-2BF51F069487}" type="presOf" srcId="{FA493BF5-6879-48C8-91C0-23DECB55DF06}" destId="{FD056A5F-40C4-4E44-ABE9-2AA192700FCF}" srcOrd="1" destOrd="0" presId="urn:microsoft.com/office/officeart/2005/8/layout/orgChart1"/>
    <dgm:cxn modelId="{2451C309-7CE9-40D4-AB06-AB8FACDB8A72}" type="presOf" srcId="{8C7F6E98-2137-4D37-898A-FD3FD8CFBCE5}" destId="{632D83E0-26EF-443D-A0D2-DBD2D1EC7EEE}" srcOrd="0" destOrd="0" presId="urn:microsoft.com/office/officeart/2005/8/layout/orgChart1"/>
    <dgm:cxn modelId="{050F605A-7F11-4D44-B70D-5CB38B1F44FB}" srcId="{9ACCA313-1D45-4B46-9C3B-D770C55AABA3}" destId="{6DBB144B-03B7-4B87-8194-084058D42CA3}" srcOrd="1" destOrd="0" parTransId="{A71BDF02-919A-4460-9FA5-D2449C0ECD25}" sibTransId="{74CD70A3-0025-48A9-8988-85D169B686D2}"/>
    <dgm:cxn modelId="{A774FE95-433D-4024-B96B-28136032B1EE}" type="presOf" srcId="{6DBB144B-03B7-4B87-8194-084058D42CA3}" destId="{56A05D0B-F7B1-4C2F-893B-E00EFB9F10C6}" srcOrd="0" destOrd="0" presId="urn:microsoft.com/office/officeart/2005/8/layout/orgChart1"/>
    <dgm:cxn modelId="{508A9925-8794-488B-8A10-B57A8744610B}" srcId="{FB5D24E9-F41F-4C14-94B2-8EDFAE14C1F9}" destId="{5E722FEB-A94B-4572-BC11-05BD026D1AC3}" srcOrd="0" destOrd="0" parTransId="{121C0B4F-E379-41AF-92B2-807DD467307F}" sibTransId="{CAB3BAE2-014B-4C2E-A8F5-6F1C31AFDF77}"/>
    <dgm:cxn modelId="{23DDFE91-6F5F-42CA-89DA-C1BB241A9A2D}" srcId="{A848C1CD-95AF-442B-8C7F-A4AABB57A9C4}" destId="{FA493BF5-6879-48C8-91C0-23DECB55DF06}" srcOrd="0" destOrd="0" parTransId="{C4ABA5D0-54BF-4F32-B8D1-0A002DD1BC02}" sibTransId="{75A5EBA5-ED64-42A9-92EC-74E658DF7A60}"/>
    <dgm:cxn modelId="{4FC7A592-E973-404A-9FF2-CF547D514C5C}" type="presOf" srcId="{044064EA-4B97-4511-8678-D835E04968D1}" destId="{6EAFC824-732F-41DC-90FB-0E72FB64FA1A}" srcOrd="1" destOrd="0" presId="urn:microsoft.com/office/officeart/2005/8/layout/orgChart1"/>
    <dgm:cxn modelId="{511EFFD3-3471-47D5-B3ED-97654CE9E069}" srcId="{044064EA-4B97-4511-8678-D835E04968D1}" destId="{19E75CC8-BEAD-40AE-B2B8-A087FE8DB935}" srcOrd="1" destOrd="0" parTransId="{8C7F6E98-2137-4D37-898A-FD3FD8CFBCE5}" sibTransId="{2DA53DD4-2ABE-42E1-8A14-0D212C233AFA}"/>
    <dgm:cxn modelId="{FD8EC5A5-FC1D-4DCF-BFD5-5F7C5E2BC08C}" type="presOf" srcId="{880AEF86-30D9-4A5B-9951-D45E0B0B8A8C}" destId="{3E05D4DB-58F3-4B21-9270-C394E5EBC039}" srcOrd="0" destOrd="0" presId="urn:microsoft.com/office/officeart/2005/8/layout/orgChart1"/>
    <dgm:cxn modelId="{7A1EA89B-3718-4C5A-A5E8-18070010758E}" type="presOf" srcId="{00382FB4-B4E9-4C71-85C0-85DA2DB2431D}" destId="{F2E3AEC8-FCA7-4183-9658-A9EE6906F75A}" srcOrd="0" destOrd="0" presId="urn:microsoft.com/office/officeart/2005/8/layout/orgChart1"/>
    <dgm:cxn modelId="{DAD9C80D-F1F7-4697-94ED-36CDCD828007}" type="presOf" srcId="{58F791C2-F358-4EDC-B2F9-2155A3A81519}" destId="{ACD1B44D-AEE6-483A-9AB3-16F968A35EDB}" srcOrd="1" destOrd="0" presId="urn:microsoft.com/office/officeart/2005/8/layout/orgChart1"/>
    <dgm:cxn modelId="{4751633E-B413-47B9-9755-C46A84B520F6}" type="presOf" srcId="{54CEA2C1-7030-48AE-8128-3966D1EC0E0E}" destId="{8074D157-92D0-4D70-A944-948F93C8C128}" srcOrd="1" destOrd="0" presId="urn:microsoft.com/office/officeart/2005/8/layout/orgChart1"/>
    <dgm:cxn modelId="{5F590368-CA2D-4A7E-963C-DCC71338E7D4}" srcId="{58F791C2-F358-4EDC-B2F9-2155A3A81519}" destId="{2D9B14C8-29E4-4B09-88D5-ECDBC7EDA20A}" srcOrd="0" destOrd="0" parTransId="{D2B65621-954E-4775-9E11-E5EDE5E72A99}" sibTransId="{55E1AF3A-6220-48AE-AFA4-9FAF6EF705F9}"/>
    <dgm:cxn modelId="{6B694ECD-7443-433A-8615-2EE226A3ABBD}" type="presOf" srcId="{0BB7286F-A28B-41AC-9DF5-124B085CD6B0}" destId="{128209D3-18F5-42F3-B19B-418F3E41542D}" srcOrd="0" destOrd="0" presId="urn:microsoft.com/office/officeart/2005/8/layout/orgChart1"/>
    <dgm:cxn modelId="{9AF2C15E-99FB-46E0-A2C6-1388F81A7C8E}" type="presOf" srcId="{29833FD4-6F66-45CC-8A53-1036F66AEC12}" destId="{370E837C-62E3-48AA-A2C8-E15C50F40248}" srcOrd="0" destOrd="0" presId="urn:microsoft.com/office/officeart/2005/8/layout/orgChart1"/>
    <dgm:cxn modelId="{1D551634-0DC5-4716-87D4-0C82EBF69B32}" srcId="{6DBB144B-03B7-4B87-8194-084058D42CA3}" destId="{233C9CE1-5FD2-4462-BA9D-1E23DC361D5F}" srcOrd="0" destOrd="0" parTransId="{E8765CB2-89AB-432D-A188-7826D76840D6}" sibTransId="{4028DE7D-4981-43C7-AB6A-3DEF7FEF2512}"/>
    <dgm:cxn modelId="{77FC3F8E-86ED-46EA-9394-C0A3B06A1E74}" srcId="{A848C1CD-95AF-442B-8C7F-A4AABB57A9C4}" destId="{B4DB4DE1-0251-4DFA-B1EB-BF1E5B4340D5}" srcOrd="1" destOrd="0" parTransId="{9429962E-168F-4FB4-B292-F8E616817608}" sibTransId="{A53461C1-338B-4E2B-AA49-68F6259F87BC}"/>
    <dgm:cxn modelId="{01800BA1-C7BC-488C-A947-F396407C016F}" type="presOf" srcId="{E8765CB2-89AB-432D-A188-7826D76840D6}" destId="{51C3D8F0-B12B-423A-95F4-1524872C2C88}" srcOrd="0" destOrd="0" presId="urn:microsoft.com/office/officeart/2005/8/layout/orgChart1"/>
    <dgm:cxn modelId="{469D2EF9-D6DE-4FC7-883F-8DE9C49818AC}" type="presOf" srcId="{7EACB5AC-7A9B-4D9F-AF05-FAE33AB51D81}" destId="{1914807C-E488-45F4-B124-4BCB729E37AC}" srcOrd="0" destOrd="0" presId="urn:microsoft.com/office/officeart/2005/8/layout/orgChart1"/>
    <dgm:cxn modelId="{ECF6913B-811F-4A31-8796-C75B1AD35064}" type="presOf" srcId="{FB5D24E9-F41F-4C14-94B2-8EDFAE14C1F9}" destId="{D803CB76-A6EA-4964-8B83-70309C86F6A9}" srcOrd="1" destOrd="0" presId="urn:microsoft.com/office/officeart/2005/8/layout/orgChart1"/>
    <dgm:cxn modelId="{866C21FE-F2A1-463C-889A-3EF8C98C7E1F}" type="presOf" srcId="{46394B59-0DDD-4E4D-9F00-4A97BFBBBACE}" destId="{4015D5E4-EA2B-4394-813B-516065B681D4}" srcOrd="1" destOrd="0" presId="urn:microsoft.com/office/officeart/2005/8/layout/orgChart1"/>
    <dgm:cxn modelId="{0A1B29E9-0EB4-4EA9-98D4-8966623CA245}" type="presOf" srcId="{19E75CC8-BEAD-40AE-B2B8-A087FE8DB935}" destId="{2E324FD7-B508-4431-8E62-CD2AA8A87F58}" srcOrd="1" destOrd="0" presId="urn:microsoft.com/office/officeart/2005/8/layout/orgChart1"/>
    <dgm:cxn modelId="{5C1136EA-BEA3-4185-BB1E-735EBD808C38}" type="presOf" srcId="{2D9B14C8-29E4-4B09-88D5-ECDBC7EDA20A}" destId="{A6A0AFEF-CA0B-414F-A5D3-50E898202EF9}" srcOrd="0" destOrd="0" presId="urn:microsoft.com/office/officeart/2005/8/layout/orgChart1"/>
    <dgm:cxn modelId="{2828E097-953A-4001-BB94-097FF2D93342}" srcId="{58F791C2-F358-4EDC-B2F9-2155A3A81519}" destId="{54648569-7EEC-4AE4-AB4E-EF3C634EE8AE}" srcOrd="2" destOrd="0" parTransId="{04739829-FCF8-4006-85B1-4112DA7AE5D9}" sibTransId="{77010E74-019F-48B4-9680-9D1D2E2DED30}"/>
    <dgm:cxn modelId="{B7B27C03-430E-4894-AB27-683A6672BB9E}" type="presOf" srcId="{46394B59-0DDD-4E4D-9F00-4A97BFBBBACE}" destId="{5F1A8E89-CAEA-4CF6-8B6D-495DC52FE8C0}" srcOrd="0" destOrd="0" presId="urn:microsoft.com/office/officeart/2005/8/layout/orgChart1"/>
    <dgm:cxn modelId="{68B982E7-4CFD-4220-ABF0-193E00846FBB}" type="presOf" srcId="{622CF3ED-1A22-4FDC-AB40-ED399D443CAE}" destId="{9DE424CA-244B-4461-BB9A-C1C9B57E85CD}" srcOrd="0" destOrd="0" presId="urn:microsoft.com/office/officeart/2005/8/layout/orgChart1"/>
    <dgm:cxn modelId="{382EE420-1953-434D-8C20-11DF37221807}" type="presOf" srcId="{9D35C064-1BE1-4A7A-AB45-023F36D1214D}" destId="{59F7B814-D258-4C60-A457-FBCFE2C61E94}" srcOrd="0" destOrd="0" presId="urn:microsoft.com/office/officeart/2005/8/layout/orgChart1"/>
    <dgm:cxn modelId="{0DDAF7F6-C2D4-4D01-936E-B57F7713EBFC}" type="presOf" srcId="{6F292361-90A9-4F80-A25E-C4CA39D79F95}" destId="{0112E7A7-4971-45B6-86BD-F87362ADDE87}" srcOrd="0" destOrd="0" presId="urn:microsoft.com/office/officeart/2005/8/layout/orgChart1"/>
    <dgm:cxn modelId="{1C4FAEF6-218A-4695-95BC-C12CCAE5BF1E}" type="presOf" srcId="{044064EA-4B97-4511-8678-D835E04968D1}" destId="{6348DEF2-B6AF-4816-9E50-A62242BD2DDB}" srcOrd="0" destOrd="0" presId="urn:microsoft.com/office/officeart/2005/8/layout/orgChart1"/>
    <dgm:cxn modelId="{86B50EC5-6E85-4149-8912-BDD9A79363A3}" srcId="{FB5D24E9-F41F-4C14-94B2-8EDFAE14C1F9}" destId="{4B0BC818-B900-46E8-91C0-92D2A764F060}" srcOrd="2" destOrd="0" parTransId="{B4D4F00B-252C-412F-9809-E2FE90FCB5DB}" sibTransId="{90F33B2C-6526-4C73-8A65-AEB1F51FC40D}"/>
    <dgm:cxn modelId="{8E6DBBB1-0D07-4D01-9F97-CD55716203F5}" type="presOf" srcId="{B85EDDB7-2892-4D05-8590-0FC38384E299}" destId="{79A86BF9-A759-4E2D-9611-CE69C2E1A179}" srcOrd="0" destOrd="0" presId="urn:microsoft.com/office/officeart/2005/8/layout/orgChart1"/>
    <dgm:cxn modelId="{1CE90573-3743-4799-9813-8B0A8D8795FB}" type="presOf" srcId="{A848C1CD-95AF-442B-8C7F-A4AABB57A9C4}" destId="{8BCC439C-4B2A-4AF8-99A4-51648F321FC7}" srcOrd="0" destOrd="0" presId="urn:microsoft.com/office/officeart/2005/8/layout/orgChart1"/>
    <dgm:cxn modelId="{46BDCE2B-3CA5-46DF-8976-372C5209E9EF}" type="presOf" srcId="{121C0B4F-E379-41AF-92B2-807DD467307F}" destId="{FB79EBC6-8BD0-466C-8BB4-C18323620429}" srcOrd="0" destOrd="0" presId="urn:microsoft.com/office/officeart/2005/8/layout/orgChart1"/>
    <dgm:cxn modelId="{DA4FCDD6-699B-48F7-8FE1-1A4D06EE9CB4}" type="presOf" srcId="{04739829-FCF8-4006-85B1-4112DA7AE5D9}" destId="{AE89E0B0-E3AD-43B2-B12C-883A262263EC}" srcOrd="0" destOrd="0" presId="urn:microsoft.com/office/officeart/2005/8/layout/orgChart1"/>
    <dgm:cxn modelId="{5F909A09-C6D2-4B95-8508-ED037A383863}" type="presOf" srcId="{510629E7-4E09-4D74-9030-3F90E2E86F21}" destId="{05158794-07A8-424B-8B14-3F384166DEF9}" srcOrd="0" destOrd="0" presId="urn:microsoft.com/office/officeart/2005/8/layout/orgChart1"/>
    <dgm:cxn modelId="{45DD48EA-6708-405C-BE4E-757678028B91}" type="presOf" srcId="{EA606285-4BA0-460E-BD44-F23EA8983760}" destId="{FCD4641F-6696-4456-9D5C-7858B585773B}" srcOrd="0" destOrd="0" presId="urn:microsoft.com/office/officeart/2005/8/layout/orgChart1"/>
    <dgm:cxn modelId="{BC5F0AC6-3139-44A0-8C30-E63BABCFC4AC}" type="presOf" srcId="{54648569-7EEC-4AE4-AB4E-EF3C634EE8AE}" destId="{1E5C411A-F8D1-4ED5-B181-745ACF12319B}" srcOrd="0" destOrd="0" presId="urn:microsoft.com/office/officeart/2005/8/layout/orgChart1"/>
    <dgm:cxn modelId="{45967058-8C8B-4A20-A7EE-02C8003D9187}" srcId="{5CB85BEC-491E-42F7-A088-01B3679D908A}" destId="{510629E7-4E09-4D74-9030-3F90E2E86F21}" srcOrd="2" destOrd="0" parTransId="{92A2E1DC-5AAA-4E8B-BE3D-85DDF5AC3205}" sibTransId="{4667FB98-3598-44ED-88F7-648375BC5A3B}"/>
    <dgm:cxn modelId="{B9CF05FD-4C4D-4139-ADD9-132619529F75}" type="presOf" srcId="{54648569-7EEC-4AE4-AB4E-EF3C634EE8AE}" destId="{8B091A8D-BDA6-41C0-AB54-1D0568040EC9}" srcOrd="1" destOrd="0" presId="urn:microsoft.com/office/officeart/2005/8/layout/orgChart1"/>
    <dgm:cxn modelId="{2E43EF6A-D3C0-4624-9E29-852108B7DEE4}" type="presOf" srcId="{9429962E-168F-4FB4-B292-F8E616817608}" destId="{2D21F98B-FA72-4289-9D8D-8F63DA4B5FC0}" srcOrd="0" destOrd="0" presId="urn:microsoft.com/office/officeart/2005/8/layout/orgChart1"/>
    <dgm:cxn modelId="{F79ADF46-29D3-4D31-80EE-85A767594FB8}" type="presOf" srcId="{B4DB4DE1-0251-4DFA-B1EB-BF1E5B4340D5}" destId="{66DE0653-E359-48D6-9573-FF35252BE7DA}" srcOrd="1" destOrd="0" presId="urn:microsoft.com/office/officeart/2005/8/layout/orgChart1"/>
    <dgm:cxn modelId="{FE938F71-5CE8-45CB-9AEB-E403718A2084}" type="presOf" srcId="{C55975C6-0B40-4BDD-901E-0349F6349C0E}" destId="{A41E142B-50E2-4B81-AC93-448690D6B404}" srcOrd="0" destOrd="0" presId="urn:microsoft.com/office/officeart/2005/8/layout/orgChart1"/>
    <dgm:cxn modelId="{31F49E45-260A-4EC7-BF12-F1FCBD214237}" srcId="{9ACCA313-1D45-4B46-9C3B-D770C55AABA3}" destId="{A848C1CD-95AF-442B-8C7F-A4AABB57A9C4}" srcOrd="2" destOrd="0" parTransId="{D5D8B076-4EA4-4EFB-B859-CDCEC26F7CD7}" sibTransId="{571182CA-8945-44C6-A129-9F81F010FFD2}"/>
    <dgm:cxn modelId="{1CB29873-0B90-4004-8190-7E014805E5A8}" type="presOf" srcId="{9D35C064-1BE1-4A7A-AB45-023F36D1214D}" destId="{89D55375-6D17-480B-B220-F6A48A8CE708}" srcOrd="1" destOrd="0" presId="urn:microsoft.com/office/officeart/2005/8/layout/orgChart1"/>
    <dgm:cxn modelId="{DFFA5220-A5CA-4AA1-8487-E7D0F4D63AD0}" type="presOf" srcId="{32DBFB62-BEB0-4159-9FA2-0567C9646C72}" destId="{E7E74F7B-65AB-47AA-9B4E-66586BA0916C}" srcOrd="1" destOrd="0" presId="urn:microsoft.com/office/officeart/2005/8/layout/orgChart1"/>
    <dgm:cxn modelId="{CD60A32F-3F17-4D23-AD07-A8B79B419482}" srcId="{6DBB144B-03B7-4B87-8194-084058D42CA3}" destId="{C167B39E-4ADE-4F9F-BDFE-9D4702F8130D}" srcOrd="1" destOrd="0" parTransId="{C55975C6-0B40-4BDD-901E-0349F6349C0E}" sibTransId="{C6318C85-243D-4FDD-8A75-1E52D5B149D0}"/>
    <dgm:cxn modelId="{DC92BCA8-AD79-4D07-B9C3-A0D546F0BA65}" srcId="{9ACCA313-1D45-4B46-9C3B-D770C55AABA3}" destId="{044064EA-4B97-4511-8678-D835E04968D1}" srcOrd="0" destOrd="0" parTransId="{B85EDDB7-2892-4D05-8590-0FC38384E299}" sibTransId="{C3694CDA-A8A2-4C5E-9EA5-E2D2428FE9C4}"/>
    <dgm:cxn modelId="{E5F1AC8B-9C5E-4B20-A24D-0F5799207E9D}" type="presOf" srcId="{B4DB4DE1-0251-4DFA-B1EB-BF1E5B4340D5}" destId="{76DF6B08-D5D1-4992-95E2-F0D81EA3F813}" srcOrd="0" destOrd="0" presId="urn:microsoft.com/office/officeart/2005/8/layout/orgChart1"/>
    <dgm:cxn modelId="{756D460F-50FE-424E-8353-4D1028235762}" type="presOf" srcId="{D5D8B076-4EA4-4EFB-B859-CDCEC26F7CD7}" destId="{DF45A38A-83B6-4935-A5AA-7F48A1C53ED7}" srcOrd="0" destOrd="0" presId="urn:microsoft.com/office/officeart/2005/8/layout/orgChart1"/>
    <dgm:cxn modelId="{FA0CC797-3DD5-4067-BED1-ABB754624DFD}" type="presOf" srcId="{622CF3ED-1A22-4FDC-AB40-ED399D443CAE}" destId="{702B7380-F0E9-4DDC-96C0-6EF2DC20F7EE}" srcOrd="1" destOrd="0" presId="urn:microsoft.com/office/officeart/2005/8/layout/orgChart1"/>
    <dgm:cxn modelId="{BF16FF43-94F2-4E33-BEAB-F439B0DB46A7}" type="presOf" srcId="{B4D4F00B-252C-412F-9809-E2FE90FCB5DB}" destId="{DA55687F-B621-461F-A807-A02EFD0757C7}" srcOrd="0" destOrd="0" presId="urn:microsoft.com/office/officeart/2005/8/layout/orgChart1"/>
    <dgm:cxn modelId="{A71CCA13-9DAD-42E4-A2FD-F79EE16D0B4D}" type="presOf" srcId="{C167B39E-4ADE-4F9F-BDFE-9D4702F8130D}" destId="{0A0B88DA-36A7-407A-A47C-E169BF702BD8}" srcOrd="0" destOrd="0" presId="urn:microsoft.com/office/officeart/2005/8/layout/orgChart1"/>
    <dgm:cxn modelId="{CF60A2FC-8741-4CC7-8C3E-9E093775E907}" type="presOf" srcId="{A0CB8F3F-993A-42DD-A0FC-20AD87E0E00A}" destId="{D111C444-C603-4074-A98D-4D1D8D7A4C4C}" srcOrd="1" destOrd="0" presId="urn:microsoft.com/office/officeart/2005/8/layout/orgChart1"/>
    <dgm:cxn modelId="{816B0218-BAFB-4F76-9108-E653517CB453}" srcId="{9ACCA313-1D45-4B46-9C3B-D770C55AABA3}" destId="{58F791C2-F358-4EDC-B2F9-2155A3A81519}" srcOrd="6" destOrd="0" parTransId="{29833FD4-6F66-45CC-8A53-1036F66AEC12}" sibTransId="{222DB477-CA98-4A7B-920D-823E7B118084}"/>
    <dgm:cxn modelId="{63A05F17-98C8-484B-A81C-BB46A549CAFF}" srcId="{5CB85BEC-491E-42F7-A088-01B3679D908A}" destId="{32DBFB62-BEB0-4159-9FA2-0567C9646C72}" srcOrd="0" destOrd="0" parTransId="{78711B40-1913-4516-A619-86E507E54782}" sibTransId="{F2CAAE9E-219C-4B48-AF87-6E2C651D7E90}"/>
    <dgm:cxn modelId="{F713B8B1-090F-45C5-8654-DAA8A363A5E6}" type="presOf" srcId="{58F791C2-F358-4EDC-B2F9-2155A3A81519}" destId="{6364127C-9824-4DC7-9C34-4082163B24A4}" srcOrd="0" destOrd="0" presId="urn:microsoft.com/office/officeart/2005/8/layout/orgChart1"/>
    <dgm:cxn modelId="{4BA11BD3-F8AA-4C49-AB4A-D79B14DF329F}" srcId="{FB5D24E9-F41F-4C14-94B2-8EDFAE14C1F9}" destId="{622CF3ED-1A22-4FDC-AB40-ED399D443CAE}" srcOrd="1" destOrd="0" parTransId="{4F25A1EB-9F96-4B9B-B1A7-FCE51AC7BBCD}" sibTransId="{E1E2569C-257E-4301-94CD-99C9F94C5E26}"/>
    <dgm:cxn modelId="{58C04CB2-2D82-46E5-954D-7DCA8814EF79}" type="presOf" srcId="{74EC88DB-2A85-4379-917D-7BD4F1EB44E6}" destId="{17F31B5D-C300-4621-B8B3-9A1859DB7A28}" srcOrd="0" destOrd="0" presId="urn:microsoft.com/office/officeart/2005/8/layout/orgChart1"/>
    <dgm:cxn modelId="{3B0ABB5F-04F8-4A40-A484-1A6BDEBE912E}" srcId="{9ACCA313-1D45-4B46-9C3B-D770C55AABA3}" destId="{5CB85BEC-491E-42F7-A088-01B3679D908A}" srcOrd="4" destOrd="0" parTransId="{3F21C947-DE5C-4EB8-953E-029BCE470BF6}" sibTransId="{52B19D78-420D-4C60-A704-530BCC61A947}"/>
    <dgm:cxn modelId="{8F34F7B0-7442-4B3D-8A11-AADE3508AF53}" type="presOf" srcId="{CCAC254D-1006-400E-8627-617D0B13BE23}" destId="{CF2DC1A8-7A46-4EC9-8746-7B13422AFDAD}" srcOrd="1" destOrd="0" presId="urn:microsoft.com/office/officeart/2005/8/layout/orgChart1"/>
    <dgm:cxn modelId="{94D3438A-0C9F-49C6-B279-B6C355599F3E}" type="presOf" srcId="{D2B65621-954E-4775-9E11-E5EDE5E72A99}" destId="{3C793CCD-6273-416E-98FF-DE4E399C9433}" srcOrd="0" destOrd="0" presId="urn:microsoft.com/office/officeart/2005/8/layout/orgChart1"/>
    <dgm:cxn modelId="{FEC14CFE-34A9-4F8B-8C1C-772E83A7AE47}" type="presOf" srcId="{5CB85BEC-491E-42F7-A088-01B3679D908A}" destId="{23276A55-82B8-49A2-9B79-0FC3801BDB8D}" srcOrd="1" destOrd="0" presId="urn:microsoft.com/office/officeart/2005/8/layout/orgChart1"/>
    <dgm:cxn modelId="{E520237F-1CBC-4A2F-9515-07C67B56E249}" srcId="{54CEA2C1-7030-48AE-8128-3966D1EC0E0E}" destId="{74EC88DB-2A85-4379-917D-7BD4F1EB44E6}" srcOrd="0" destOrd="0" parTransId="{EA606285-4BA0-460E-BD44-F23EA8983760}" sibTransId="{5C87D687-8114-44E0-AA21-B00BCD249394}"/>
    <dgm:cxn modelId="{957A4E84-2F55-4C20-BF29-F1D93C4EF923}" type="presOf" srcId="{A848C1CD-95AF-442B-8C7F-A4AABB57A9C4}" destId="{A86039FC-A812-4986-92E5-9CE23EF9FCBE}" srcOrd="1" destOrd="0" presId="urn:microsoft.com/office/officeart/2005/8/layout/orgChart1"/>
    <dgm:cxn modelId="{5A590356-E8FC-443F-BD1F-A39C372C1F65}" type="presOf" srcId="{510629E7-4E09-4D74-9030-3F90E2E86F21}" destId="{83CBFCC4-FD81-4572-8C32-90316BB787A8}" srcOrd="1" destOrd="0" presId="urn:microsoft.com/office/officeart/2005/8/layout/orgChart1"/>
    <dgm:cxn modelId="{A7822DD6-A7F3-4A83-8A65-F529133C7B70}" type="presOf" srcId="{5CB85BEC-491E-42F7-A088-01B3679D908A}" destId="{E2997279-5AC9-4AE8-ABAE-BB36E66BCB77}" srcOrd="0" destOrd="0" presId="urn:microsoft.com/office/officeart/2005/8/layout/orgChart1"/>
    <dgm:cxn modelId="{F9CAC708-83AA-4969-A061-FBD472694149}" type="presOf" srcId="{FB5D24E9-F41F-4C14-94B2-8EDFAE14C1F9}" destId="{ABC94E04-8293-493D-8514-31CFFE0E6F45}" srcOrd="0" destOrd="0" presId="urn:microsoft.com/office/officeart/2005/8/layout/orgChart1"/>
    <dgm:cxn modelId="{0B93522D-8155-4FC3-A16C-76F8652D3F5C}" type="presOf" srcId="{9ACCA313-1D45-4B46-9C3B-D770C55AABA3}" destId="{FAF2258B-BBEC-445A-8C1D-EDBC1B80A569}" srcOrd="1" destOrd="0" presId="urn:microsoft.com/office/officeart/2005/8/layout/orgChart1"/>
    <dgm:cxn modelId="{B7CAE6B5-DE33-4D1E-B111-2F59A06F0025}" type="presOf" srcId="{92A2E1DC-5AAA-4E8B-BE3D-85DDF5AC3205}" destId="{989BB5C3-A9D6-42FE-BD31-AFA28ED24E16}" srcOrd="0" destOrd="0" presId="urn:microsoft.com/office/officeart/2005/8/layout/orgChart1"/>
    <dgm:cxn modelId="{658EB5AF-1B86-440A-BEBC-BB98938F3A79}" type="presOf" srcId="{5E722FEB-A94B-4572-BC11-05BD026D1AC3}" destId="{E7EA0F8B-DC9F-4D1C-A0EA-645195BE1F96}" srcOrd="1" destOrd="0" presId="urn:microsoft.com/office/officeart/2005/8/layout/orgChart1"/>
    <dgm:cxn modelId="{1C0E004E-60D3-4D7A-B821-B08C53EDF2B2}" type="presOf" srcId="{A71BDF02-919A-4460-9FA5-D2449C0ECD25}" destId="{0E79FEA3-D074-4C4B-9814-4999FAADF258}" srcOrd="0" destOrd="0" presId="urn:microsoft.com/office/officeart/2005/8/layout/orgChart1"/>
    <dgm:cxn modelId="{3C90C780-3A66-4557-A549-A1212B86DEB4}" type="presOf" srcId="{233C9CE1-5FD2-4462-BA9D-1E23DC361D5F}" destId="{D5C42B68-4358-4F63-91FA-2BD48C52FF29}" srcOrd="1" destOrd="0" presId="urn:microsoft.com/office/officeart/2005/8/layout/orgChart1"/>
    <dgm:cxn modelId="{E50FD354-B6BF-4051-8507-027DFCA2909F}" srcId="{D39B9CB6-03D3-4C46-8EFD-7B46DE020F67}" destId="{9ACCA313-1D45-4B46-9C3B-D770C55AABA3}" srcOrd="0" destOrd="0" parTransId="{62D1A1F6-546E-44AE-8B26-936838195A5D}" sibTransId="{DC35878E-7371-4C0D-9F2E-9E7165E50BFC}"/>
    <dgm:cxn modelId="{DA1C1852-2BB4-4CE9-97D2-67CDC4947C56}" type="presOf" srcId="{6DBB144B-03B7-4B87-8194-084058D42CA3}" destId="{52EDBD53-3995-44F9-81FC-883077D614EC}" srcOrd="1" destOrd="0" presId="urn:microsoft.com/office/officeart/2005/8/layout/orgChart1"/>
    <dgm:cxn modelId="{F9C9E44B-DF57-4637-860A-0EF59BD5B4BA}" type="presOf" srcId="{32DBFB62-BEB0-4159-9FA2-0567C9646C72}" destId="{1696E2A7-381C-44B6-B84C-951A6A22C0DB}" srcOrd="0" destOrd="0" presId="urn:microsoft.com/office/officeart/2005/8/layout/orgChart1"/>
    <dgm:cxn modelId="{C231C7CD-0B52-453D-B0B5-F2CE6FBD654A}" type="presParOf" srcId="{BDDBFA6C-4B83-47AD-843F-3F1E8C5F32A0}" destId="{55E40242-4C4B-4156-B054-239B18E2A9F5}" srcOrd="0" destOrd="0" presId="urn:microsoft.com/office/officeart/2005/8/layout/orgChart1"/>
    <dgm:cxn modelId="{835B380F-274F-4B00-9C44-E76DB77D80EC}" type="presParOf" srcId="{55E40242-4C4B-4156-B054-239B18E2A9F5}" destId="{B1415DF9-48FA-4001-82D3-39BC9AF4FFD4}" srcOrd="0" destOrd="0" presId="urn:microsoft.com/office/officeart/2005/8/layout/orgChart1"/>
    <dgm:cxn modelId="{0F60CC66-96F1-4CB3-AD3D-B393B2BBF91C}" type="presParOf" srcId="{B1415DF9-48FA-4001-82D3-39BC9AF4FFD4}" destId="{47E0F2E6-C891-487D-A0B0-1BCEF73C04D9}" srcOrd="0" destOrd="0" presId="urn:microsoft.com/office/officeart/2005/8/layout/orgChart1"/>
    <dgm:cxn modelId="{F04FD9EF-0441-4143-BB7A-4D1E589E7F8E}" type="presParOf" srcId="{B1415DF9-48FA-4001-82D3-39BC9AF4FFD4}" destId="{FAF2258B-BBEC-445A-8C1D-EDBC1B80A569}" srcOrd="1" destOrd="0" presId="urn:microsoft.com/office/officeart/2005/8/layout/orgChart1"/>
    <dgm:cxn modelId="{6ECF60D7-5660-4313-BAEF-D4925F78A6C8}" type="presParOf" srcId="{55E40242-4C4B-4156-B054-239B18E2A9F5}" destId="{3A2C620C-850E-4245-8F5C-7D68A458D75F}" srcOrd="1" destOrd="0" presId="urn:microsoft.com/office/officeart/2005/8/layout/orgChart1"/>
    <dgm:cxn modelId="{88063E01-9774-41E7-A3E3-175A1A51156F}" type="presParOf" srcId="{3A2C620C-850E-4245-8F5C-7D68A458D75F}" destId="{79A86BF9-A759-4E2D-9611-CE69C2E1A179}" srcOrd="0" destOrd="0" presId="urn:microsoft.com/office/officeart/2005/8/layout/orgChart1"/>
    <dgm:cxn modelId="{5CA01E3C-90E6-45B7-BF9E-E1CAC6F57F44}" type="presParOf" srcId="{3A2C620C-850E-4245-8F5C-7D68A458D75F}" destId="{3A3DA321-E614-47BE-B888-65BF1958C930}" srcOrd="1" destOrd="0" presId="urn:microsoft.com/office/officeart/2005/8/layout/orgChart1"/>
    <dgm:cxn modelId="{7F4FD7C4-43C9-4797-9D9F-892E108F06E1}" type="presParOf" srcId="{3A3DA321-E614-47BE-B888-65BF1958C930}" destId="{4D25FCFA-5EC3-4EA7-A488-1E3BF75B7396}" srcOrd="0" destOrd="0" presId="urn:microsoft.com/office/officeart/2005/8/layout/orgChart1"/>
    <dgm:cxn modelId="{2CA1CF68-BE1A-4ECA-B0A4-AE539026D567}" type="presParOf" srcId="{4D25FCFA-5EC3-4EA7-A488-1E3BF75B7396}" destId="{6348DEF2-B6AF-4816-9E50-A62242BD2DDB}" srcOrd="0" destOrd="0" presId="urn:microsoft.com/office/officeart/2005/8/layout/orgChart1"/>
    <dgm:cxn modelId="{5799D859-9FDE-484F-B283-D44808351586}" type="presParOf" srcId="{4D25FCFA-5EC3-4EA7-A488-1E3BF75B7396}" destId="{6EAFC824-732F-41DC-90FB-0E72FB64FA1A}" srcOrd="1" destOrd="0" presId="urn:microsoft.com/office/officeart/2005/8/layout/orgChart1"/>
    <dgm:cxn modelId="{79D52806-3E48-483D-BFE0-8B5DC1E488C8}" type="presParOf" srcId="{3A3DA321-E614-47BE-B888-65BF1958C930}" destId="{3EB0C940-DA66-408D-B956-FE4EB8524C90}" srcOrd="1" destOrd="0" presId="urn:microsoft.com/office/officeart/2005/8/layout/orgChart1"/>
    <dgm:cxn modelId="{D4C16536-CF4F-4681-801B-A15007039B3B}" type="presParOf" srcId="{3EB0C940-DA66-408D-B956-FE4EB8524C90}" destId="{1914807C-E488-45F4-B124-4BCB729E37AC}" srcOrd="0" destOrd="0" presId="urn:microsoft.com/office/officeart/2005/8/layout/orgChart1"/>
    <dgm:cxn modelId="{64E2A38F-956F-400A-AE6A-9FBF90D916D1}" type="presParOf" srcId="{3EB0C940-DA66-408D-B956-FE4EB8524C90}" destId="{B8614267-4234-4253-B2F6-5AFDD2630277}" srcOrd="1" destOrd="0" presId="urn:microsoft.com/office/officeart/2005/8/layout/orgChart1"/>
    <dgm:cxn modelId="{1BD0C8F4-CA45-4ADF-BBC5-205B50ED44CD}" type="presParOf" srcId="{B8614267-4234-4253-B2F6-5AFDD2630277}" destId="{152CED3B-2443-4ABB-94EB-664282C5AD4F}" srcOrd="0" destOrd="0" presId="urn:microsoft.com/office/officeart/2005/8/layout/orgChart1"/>
    <dgm:cxn modelId="{B55B29FC-69A9-4BB7-A5E2-43010F2861C6}" type="presParOf" srcId="{152CED3B-2443-4ABB-94EB-664282C5AD4F}" destId="{1AC64A07-E561-4874-9257-89DE6750951C}" srcOrd="0" destOrd="0" presId="urn:microsoft.com/office/officeart/2005/8/layout/orgChart1"/>
    <dgm:cxn modelId="{EA2839AB-0E10-4F78-A60D-DD2100156B8C}" type="presParOf" srcId="{152CED3B-2443-4ABB-94EB-664282C5AD4F}" destId="{D111C444-C603-4074-A98D-4D1D8D7A4C4C}" srcOrd="1" destOrd="0" presId="urn:microsoft.com/office/officeart/2005/8/layout/orgChart1"/>
    <dgm:cxn modelId="{D7175C25-153B-41D2-BA46-E3C1AD0251B8}" type="presParOf" srcId="{B8614267-4234-4253-B2F6-5AFDD2630277}" destId="{FFC800E2-DB0F-4BF3-9656-31F9FE948EC2}" srcOrd="1" destOrd="0" presId="urn:microsoft.com/office/officeart/2005/8/layout/orgChart1"/>
    <dgm:cxn modelId="{2620C2DE-4544-4807-B3BF-1110233552D1}" type="presParOf" srcId="{B8614267-4234-4253-B2F6-5AFDD2630277}" destId="{F6D087B9-FD21-4C94-91DA-04AA30757EC9}" srcOrd="2" destOrd="0" presId="urn:microsoft.com/office/officeart/2005/8/layout/orgChart1"/>
    <dgm:cxn modelId="{4EE9A6F9-6871-4B36-BFBB-132A2E198C16}" type="presParOf" srcId="{3EB0C940-DA66-408D-B956-FE4EB8524C90}" destId="{632D83E0-26EF-443D-A0D2-DBD2D1EC7EEE}" srcOrd="2" destOrd="0" presId="urn:microsoft.com/office/officeart/2005/8/layout/orgChart1"/>
    <dgm:cxn modelId="{FE3C9746-2D60-4F2D-B6C0-BDBA4A5BF671}" type="presParOf" srcId="{3EB0C940-DA66-408D-B956-FE4EB8524C90}" destId="{A1C089F2-B863-4445-A3A2-5D7545EE566A}" srcOrd="3" destOrd="0" presId="urn:microsoft.com/office/officeart/2005/8/layout/orgChart1"/>
    <dgm:cxn modelId="{88D153CC-48C8-4FBE-AACE-2159A81838D3}" type="presParOf" srcId="{A1C089F2-B863-4445-A3A2-5D7545EE566A}" destId="{2B45615E-E2B8-4188-93EF-171ED96FC287}" srcOrd="0" destOrd="0" presId="urn:microsoft.com/office/officeart/2005/8/layout/orgChart1"/>
    <dgm:cxn modelId="{59DC24F1-DE93-476B-B0E1-D95D5BA1DFBC}" type="presParOf" srcId="{2B45615E-E2B8-4188-93EF-171ED96FC287}" destId="{BC05A892-D068-4E73-BF3C-3F3E039826E7}" srcOrd="0" destOrd="0" presId="urn:microsoft.com/office/officeart/2005/8/layout/orgChart1"/>
    <dgm:cxn modelId="{5240E2E8-AA5F-4822-8395-4E6CB58BDFDA}" type="presParOf" srcId="{2B45615E-E2B8-4188-93EF-171ED96FC287}" destId="{2E324FD7-B508-4431-8E62-CD2AA8A87F58}" srcOrd="1" destOrd="0" presId="urn:microsoft.com/office/officeart/2005/8/layout/orgChart1"/>
    <dgm:cxn modelId="{DAF7060C-783D-4A3F-A758-3E280D6E13E6}" type="presParOf" srcId="{A1C089F2-B863-4445-A3A2-5D7545EE566A}" destId="{4763D48E-7F3E-49C8-BD5E-13B1FE23512E}" srcOrd="1" destOrd="0" presId="urn:microsoft.com/office/officeart/2005/8/layout/orgChart1"/>
    <dgm:cxn modelId="{6D5D21E0-4F15-4D10-AF9D-E502ECBA0928}" type="presParOf" srcId="{A1C089F2-B863-4445-A3A2-5D7545EE566A}" destId="{CEAB6E36-0141-4BAF-AB38-116492FCA11D}" srcOrd="2" destOrd="0" presId="urn:microsoft.com/office/officeart/2005/8/layout/orgChart1"/>
    <dgm:cxn modelId="{B34D810C-5134-4725-A4A6-5867ABE23B09}" type="presParOf" srcId="{3EB0C940-DA66-408D-B956-FE4EB8524C90}" destId="{AC1EE9E3-B11A-4949-B3CA-C7D9CC494444}" srcOrd="4" destOrd="0" presId="urn:microsoft.com/office/officeart/2005/8/layout/orgChart1"/>
    <dgm:cxn modelId="{0F59E01B-5AA4-457F-A8AB-951BBA8D176F}" type="presParOf" srcId="{3EB0C940-DA66-408D-B956-FE4EB8524C90}" destId="{02E6B363-751E-4B96-A247-E972336ED352}" srcOrd="5" destOrd="0" presId="urn:microsoft.com/office/officeart/2005/8/layout/orgChart1"/>
    <dgm:cxn modelId="{562C3765-FCF6-49CB-A6DC-E32DCC575A5F}" type="presParOf" srcId="{02E6B363-751E-4B96-A247-E972336ED352}" destId="{D77DC420-6CE1-4B6A-A9EF-EB53D507552D}" srcOrd="0" destOrd="0" presId="urn:microsoft.com/office/officeart/2005/8/layout/orgChart1"/>
    <dgm:cxn modelId="{5419793E-DB3F-475F-B56E-926E6A060270}" type="presParOf" srcId="{D77DC420-6CE1-4B6A-A9EF-EB53D507552D}" destId="{59F7B814-D258-4C60-A457-FBCFE2C61E94}" srcOrd="0" destOrd="0" presId="urn:microsoft.com/office/officeart/2005/8/layout/orgChart1"/>
    <dgm:cxn modelId="{619EC458-E224-4971-967D-0D9167CDCBDC}" type="presParOf" srcId="{D77DC420-6CE1-4B6A-A9EF-EB53D507552D}" destId="{89D55375-6D17-480B-B220-F6A48A8CE708}" srcOrd="1" destOrd="0" presId="urn:microsoft.com/office/officeart/2005/8/layout/orgChart1"/>
    <dgm:cxn modelId="{A4E7C163-4541-4D1C-B4F8-D9145670D50E}" type="presParOf" srcId="{02E6B363-751E-4B96-A247-E972336ED352}" destId="{19C44F7C-CA0D-4BC3-A66B-F4801A669567}" srcOrd="1" destOrd="0" presId="urn:microsoft.com/office/officeart/2005/8/layout/orgChart1"/>
    <dgm:cxn modelId="{06AB9CCF-8BD2-4D74-BB40-274BF613F566}" type="presParOf" srcId="{02E6B363-751E-4B96-A247-E972336ED352}" destId="{8DBBECAF-A9E6-41F5-85DB-97E3B609485D}" srcOrd="2" destOrd="0" presId="urn:microsoft.com/office/officeart/2005/8/layout/orgChart1"/>
    <dgm:cxn modelId="{20BC25AF-A756-446C-8540-E171E845F5AE}" type="presParOf" srcId="{3A3DA321-E614-47BE-B888-65BF1958C930}" destId="{7CA756AB-1205-4D7E-B7B6-E5C3104C474B}" srcOrd="2" destOrd="0" presId="urn:microsoft.com/office/officeart/2005/8/layout/orgChart1"/>
    <dgm:cxn modelId="{BF4790A8-557B-4B6E-85A7-C42D2F9536A8}" type="presParOf" srcId="{3A2C620C-850E-4245-8F5C-7D68A458D75F}" destId="{0E79FEA3-D074-4C4B-9814-4999FAADF258}" srcOrd="2" destOrd="0" presId="urn:microsoft.com/office/officeart/2005/8/layout/orgChart1"/>
    <dgm:cxn modelId="{74D5E0EF-BBED-4A4D-93BA-D7F4BC64AFB9}" type="presParOf" srcId="{3A2C620C-850E-4245-8F5C-7D68A458D75F}" destId="{89F26F11-3B4E-44F5-BD5E-44B832BBC093}" srcOrd="3" destOrd="0" presId="urn:microsoft.com/office/officeart/2005/8/layout/orgChart1"/>
    <dgm:cxn modelId="{4CAA71F5-DFAC-4491-AE76-545EB1BA0B49}" type="presParOf" srcId="{89F26F11-3B4E-44F5-BD5E-44B832BBC093}" destId="{F4AEF35E-25D6-4AB4-B394-4E1B2F950B66}" srcOrd="0" destOrd="0" presId="urn:microsoft.com/office/officeart/2005/8/layout/orgChart1"/>
    <dgm:cxn modelId="{0CF6B74D-6EFC-4B00-BD87-45FEDF945CBE}" type="presParOf" srcId="{F4AEF35E-25D6-4AB4-B394-4E1B2F950B66}" destId="{56A05D0B-F7B1-4C2F-893B-E00EFB9F10C6}" srcOrd="0" destOrd="0" presId="urn:microsoft.com/office/officeart/2005/8/layout/orgChart1"/>
    <dgm:cxn modelId="{E8A5A470-7601-4C69-8BDD-ED793A00560B}" type="presParOf" srcId="{F4AEF35E-25D6-4AB4-B394-4E1B2F950B66}" destId="{52EDBD53-3995-44F9-81FC-883077D614EC}" srcOrd="1" destOrd="0" presId="urn:microsoft.com/office/officeart/2005/8/layout/orgChart1"/>
    <dgm:cxn modelId="{EE72E327-111F-4F73-9442-ABD20FF589FD}" type="presParOf" srcId="{89F26F11-3B4E-44F5-BD5E-44B832BBC093}" destId="{6B96DB21-CFAB-4BD1-92E3-7B5AF39BCE3D}" srcOrd="1" destOrd="0" presId="urn:microsoft.com/office/officeart/2005/8/layout/orgChart1"/>
    <dgm:cxn modelId="{344A7219-03B1-40DB-86C9-8733F999A6E3}" type="presParOf" srcId="{6B96DB21-CFAB-4BD1-92E3-7B5AF39BCE3D}" destId="{51C3D8F0-B12B-423A-95F4-1524872C2C88}" srcOrd="0" destOrd="0" presId="urn:microsoft.com/office/officeart/2005/8/layout/orgChart1"/>
    <dgm:cxn modelId="{0EE0023C-4F72-488C-B886-3DD6ADD67B25}" type="presParOf" srcId="{6B96DB21-CFAB-4BD1-92E3-7B5AF39BCE3D}" destId="{9BAF1860-242E-458D-BB58-A3BEED6539D5}" srcOrd="1" destOrd="0" presId="urn:microsoft.com/office/officeart/2005/8/layout/orgChart1"/>
    <dgm:cxn modelId="{831C18CF-F735-4F82-A9CA-29D373A966A3}" type="presParOf" srcId="{9BAF1860-242E-458D-BB58-A3BEED6539D5}" destId="{532BBC8F-8CD8-469E-B7DA-A35A46AFACD9}" srcOrd="0" destOrd="0" presId="urn:microsoft.com/office/officeart/2005/8/layout/orgChart1"/>
    <dgm:cxn modelId="{CFC8D420-E2F4-4220-9795-D0C88C69373C}" type="presParOf" srcId="{532BBC8F-8CD8-469E-B7DA-A35A46AFACD9}" destId="{A609C574-62A2-4CFC-8004-3CC32C7F538E}" srcOrd="0" destOrd="0" presId="urn:microsoft.com/office/officeart/2005/8/layout/orgChart1"/>
    <dgm:cxn modelId="{FD43B275-FA14-4A83-BCB4-D296A9B387A3}" type="presParOf" srcId="{532BBC8F-8CD8-469E-B7DA-A35A46AFACD9}" destId="{D5C42B68-4358-4F63-91FA-2BD48C52FF29}" srcOrd="1" destOrd="0" presId="urn:microsoft.com/office/officeart/2005/8/layout/orgChart1"/>
    <dgm:cxn modelId="{339C7A8A-2D8A-4E68-954D-6C695428A603}" type="presParOf" srcId="{9BAF1860-242E-458D-BB58-A3BEED6539D5}" destId="{E3E3743A-8410-487B-8E7F-7752F1BC17D7}" srcOrd="1" destOrd="0" presId="urn:microsoft.com/office/officeart/2005/8/layout/orgChart1"/>
    <dgm:cxn modelId="{7840AD70-225C-483F-87C3-E8EE74107A78}" type="presParOf" srcId="{9BAF1860-242E-458D-BB58-A3BEED6539D5}" destId="{86B3645A-C268-44F9-BC71-74A9C4E833FF}" srcOrd="2" destOrd="0" presId="urn:microsoft.com/office/officeart/2005/8/layout/orgChart1"/>
    <dgm:cxn modelId="{881FA1DD-CD35-4E33-82D4-2775AF0AC00B}" type="presParOf" srcId="{6B96DB21-CFAB-4BD1-92E3-7B5AF39BCE3D}" destId="{A41E142B-50E2-4B81-AC93-448690D6B404}" srcOrd="2" destOrd="0" presId="urn:microsoft.com/office/officeart/2005/8/layout/orgChart1"/>
    <dgm:cxn modelId="{ACEF1D35-AD86-42D9-916F-3371C31D1FAC}" type="presParOf" srcId="{6B96DB21-CFAB-4BD1-92E3-7B5AF39BCE3D}" destId="{E492B115-BCEC-4BC6-AA38-CC0A686C08CD}" srcOrd="3" destOrd="0" presId="urn:microsoft.com/office/officeart/2005/8/layout/orgChart1"/>
    <dgm:cxn modelId="{BA4E4FA0-7F48-47FF-9F03-253DDDFAD321}" type="presParOf" srcId="{E492B115-BCEC-4BC6-AA38-CC0A686C08CD}" destId="{200D5687-F116-4981-B072-04A8C34B1946}" srcOrd="0" destOrd="0" presId="urn:microsoft.com/office/officeart/2005/8/layout/orgChart1"/>
    <dgm:cxn modelId="{3EFE7D33-9FF8-434C-B6FA-B31DC93866DF}" type="presParOf" srcId="{200D5687-F116-4981-B072-04A8C34B1946}" destId="{0A0B88DA-36A7-407A-A47C-E169BF702BD8}" srcOrd="0" destOrd="0" presId="urn:microsoft.com/office/officeart/2005/8/layout/orgChart1"/>
    <dgm:cxn modelId="{57C49492-7C02-4A2D-897C-5F873D1A6085}" type="presParOf" srcId="{200D5687-F116-4981-B072-04A8C34B1946}" destId="{A86A52FB-EA04-473A-8538-8091D29470B9}" srcOrd="1" destOrd="0" presId="urn:microsoft.com/office/officeart/2005/8/layout/orgChart1"/>
    <dgm:cxn modelId="{97FAF644-5BCF-46E8-A362-DA771B55CD7D}" type="presParOf" srcId="{E492B115-BCEC-4BC6-AA38-CC0A686C08CD}" destId="{2EDB04DD-16F2-4402-AF71-5758FA21A1C4}" srcOrd="1" destOrd="0" presId="urn:microsoft.com/office/officeart/2005/8/layout/orgChart1"/>
    <dgm:cxn modelId="{85E7D86D-3062-4DB1-8802-91A261836E59}" type="presParOf" srcId="{E492B115-BCEC-4BC6-AA38-CC0A686C08CD}" destId="{F8EE4C0E-0001-4FDE-AAAA-E72EB7E0CF8F}" srcOrd="2" destOrd="0" presId="urn:microsoft.com/office/officeart/2005/8/layout/orgChart1"/>
    <dgm:cxn modelId="{D56E1580-31B8-4418-8930-9F9DAFCD09BE}" type="presParOf" srcId="{89F26F11-3B4E-44F5-BD5E-44B832BBC093}" destId="{4D7C504C-4F45-4A9D-9564-AC600E7C2FB6}" srcOrd="2" destOrd="0" presId="urn:microsoft.com/office/officeart/2005/8/layout/orgChart1"/>
    <dgm:cxn modelId="{348423F2-2393-400D-A79A-F4F970511DC5}" type="presParOf" srcId="{3A2C620C-850E-4245-8F5C-7D68A458D75F}" destId="{DF45A38A-83B6-4935-A5AA-7F48A1C53ED7}" srcOrd="4" destOrd="0" presId="urn:microsoft.com/office/officeart/2005/8/layout/orgChart1"/>
    <dgm:cxn modelId="{7CA5B733-87A9-4309-90A8-150B8568ECB4}" type="presParOf" srcId="{3A2C620C-850E-4245-8F5C-7D68A458D75F}" destId="{F13EB549-5C4D-4207-883A-426FC2E05748}" srcOrd="5" destOrd="0" presId="urn:microsoft.com/office/officeart/2005/8/layout/orgChart1"/>
    <dgm:cxn modelId="{2DDE58AF-D503-4870-BD93-C75C4A3DB6A1}" type="presParOf" srcId="{F13EB549-5C4D-4207-883A-426FC2E05748}" destId="{BA8FA96F-8F86-4BE2-ACBC-88DCB85D32A4}" srcOrd="0" destOrd="0" presId="urn:microsoft.com/office/officeart/2005/8/layout/orgChart1"/>
    <dgm:cxn modelId="{2C9A8962-4702-4845-A3C4-B453B45CA449}" type="presParOf" srcId="{BA8FA96F-8F86-4BE2-ACBC-88DCB85D32A4}" destId="{8BCC439C-4B2A-4AF8-99A4-51648F321FC7}" srcOrd="0" destOrd="0" presId="urn:microsoft.com/office/officeart/2005/8/layout/orgChart1"/>
    <dgm:cxn modelId="{17C661A6-7840-457F-9AB2-8D446EAEC81C}" type="presParOf" srcId="{BA8FA96F-8F86-4BE2-ACBC-88DCB85D32A4}" destId="{A86039FC-A812-4986-92E5-9CE23EF9FCBE}" srcOrd="1" destOrd="0" presId="urn:microsoft.com/office/officeart/2005/8/layout/orgChart1"/>
    <dgm:cxn modelId="{DD0FCDE2-1F3F-40B1-BF94-8E4EB0BEC6B5}" type="presParOf" srcId="{F13EB549-5C4D-4207-883A-426FC2E05748}" destId="{A4B62F3E-7C5B-4032-8C1D-5DF837EE1AC8}" srcOrd="1" destOrd="0" presId="urn:microsoft.com/office/officeart/2005/8/layout/orgChart1"/>
    <dgm:cxn modelId="{41A2702D-75C8-4D70-9CFE-719B5D9848AF}" type="presParOf" srcId="{A4B62F3E-7C5B-4032-8C1D-5DF837EE1AC8}" destId="{5C437BFD-D3F8-4D08-896B-59278537265A}" srcOrd="0" destOrd="0" presId="urn:microsoft.com/office/officeart/2005/8/layout/orgChart1"/>
    <dgm:cxn modelId="{1BABDB36-A5F0-479F-8347-C190AB10AEFF}" type="presParOf" srcId="{A4B62F3E-7C5B-4032-8C1D-5DF837EE1AC8}" destId="{65D39D72-42A7-4D38-858C-282461F9ABC2}" srcOrd="1" destOrd="0" presId="urn:microsoft.com/office/officeart/2005/8/layout/orgChart1"/>
    <dgm:cxn modelId="{7F5443D6-2DE7-462A-A831-60C09E729503}" type="presParOf" srcId="{65D39D72-42A7-4D38-858C-282461F9ABC2}" destId="{28BDEDD6-B00E-4DCC-8F37-E7BF501FD14A}" srcOrd="0" destOrd="0" presId="urn:microsoft.com/office/officeart/2005/8/layout/orgChart1"/>
    <dgm:cxn modelId="{67003BDE-966E-4F71-9D55-5DA6F857401C}" type="presParOf" srcId="{28BDEDD6-B00E-4DCC-8F37-E7BF501FD14A}" destId="{FC460032-D689-459B-8474-0DD32576B01C}" srcOrd="0" destOrd="0" presId="urn:microsoft.com/office/officeart/2005/8/layout/orgChart1"/>
    <dgm:cxn modelId="{6A20B52F-5F62-4A3A-9011-8F6F3B7C758B}" type="presParOf" srcId="{28BDEDD6-B00E-4DCC-8F37-E7BF501FD14A}" destId="{FD056A5F-40C4-4E44-ABE9-2AA192700FCF}" srcOrd="1" destOrd="0" presId="urn:microsoft.com/office/officeart/2005/8/layout/orgChart1"/>
    <dgm:cxn modelId="{3C03C4EF-B103-43EF-9225-B9477BDBF34F}" type="presParOf" srcId="{65D39D72-42A7-4D38-858C-282461F9ABC2}" destId="{55F42BEF-7819-4915-854F-4E25952AC3E7}" srcOrd="1" destOrd="0" presId="urn:microsoft.com/office/officeart/2005/8/layout/orgChart1"/>
    <dgm:cxn modelId="{0A55CEA3-D2C1-45BC-AD62-975C5FB5D43E}" type="presParOf" srcId="{65D39D72-42A7-4D38-858C-282461F9ABC2}" destId="{44528E77-D962-413F-8307-4E9B4201AC4F}" srcOrd="2" destOrd="0" presId="urn:microsoft.com/office/officeart/2005/8/layout/orgChart1"/>
    <dgm:cxn modelId="{A6023AF4-EF4F-48D3-BFE1-E283A4134B6D}" type="presParOf" srcId="{A4B62F3E-7C5B-4032-8C1D-5DF837EE1AC8}" destId="{2D21F98B-FA72-4289-9D8D-8F63DA4B5FC0}" srcOrd="2" destOrd="0" presId="urn:microsoft.com/office/officeart/2005/8/layout/orgChart1"/>
    <dgm:cxn modelId="{B16AB137-5D1D-4825-9F23-5AA9AA602444}" type="presParOf" srcId="{A4B62F3E-7C5B-4032-8C1D-5DF837EE1AC8}" destId="{BF903A1D-5DBC-41BC-A258-174C9ABD25FB}" srcOrd="3" destOrd="0" presId="urn:microsoft.com/office/officeart/2005/8/layout/orgChart1"/>
    <dgm:cxn modelId="{2A5F0CA7-AF1B-4C89-A4DC-708A4B424293}" type="presParOf" srcId="{BF903A1D-5DBC-41BC-A258-174C9ABD25FB}" destId="{24BF3AA2-BC86-4A5C-94E7-1E3097CFD36B}" srcOrd="0" destOrd="0" presId="urn:microsoft.com/office/officeart/2005/8/layout/orgChart1"/>
    <dgm:cxn modelId="{47D79C91-853B-411B-ADB9-9B17AF1BCED7}" type="presParOf" srcId="{24BF3AA2-BC86-4A5C-94E7-1E3097CFD36B}" destId="{76DF6B08-D5D1-4992-95E2-F0D81EA3F813}" srcOrd="0" destOrd="0" presId="urn:microsoft.com/office/officeart/2005/8/layout/orgChart1"/>
    <dgm:cxn modelId="{8DF7D784-BED5-4EC1-AE24-290D8E80771C}" type="presParOf" srcId="{24BF3AA2-BC86-4A5C-94E7-1E3097CFD36B}" destId="{66DE0653-E359-48D6-9573-FF35252BE7DA}" srcOrd="1" destOrd="0" presId="urn:microsoft.com/office/officeart/2005/8/layout/orgChart1"/>
    <dgm:cxn modelId="{EBEC7CD8-FFC7-4B23-9204-D04E397F8053}" type="presParOf" srcId="{BF903A1D-5DBC-41BC-A258-174C9ABD25FB}" destId="{F10C4580-7814-4397-9C1A-1DEEF92A2E31}" srcOrd="1" destOrd="0" presId="urn:microsoft.com/office/officeart/2005/8/layout/orgChart1"/>
    <dgm:cxn modelId="{B18B1EE3-FF8B-44A8-BBC2-2E40C29DDE08}" type="presParOf" srcId="{BF903A1D-5DBC-41BC-A258-174C9ABD25FB}" destId="{53178E72-B23F-4D67-8A58-E295F1B5FB9D}" srcOrd="2" destOrd="0" presId="urn:microsoft.com/office/officeart/2005/8/layout/orgChart1"/>
    <dgm:cxn modelId="{9B11D35D-AD12-4E6E-BBAB-9ECDCF858F3C}" type="presParOf" srcId="{F13EB549-5C4D-4207-883A-426FC2E05748}" destId="{79465E73-6AFE-4B52-B29F-D4DDC6128985}" srcOrd="2" destOrd="0" presId="urn:microsoft.com/office/officeart/2005/8/layout/orgChart1"/>
    <dgm:cxn modelId="{14E8FCA5-E6B8-4308-B8FC-C60625FD7D73}" type="presParOf" srcId="{3A2C620C-850E-4245-8F5C-7D68A458D75F}" destId="{128209D3-18F5-42F3-B19B-418F3E41542D}" srcOrd="6" destOrd="0" presId="urn:microsoft.com/office/officeart/2005/8/layout/orgChart1"/>
    <dgm:cxn modelId="{EEA1CE4F-955A-498F-B0B1-9EDAB1CEBD25}" type="presParOf" srcId="{3A2C620C-850E-4245-8F5C-7D68A458D75F}" destId="{E81186D2-E81B-4639-83E1-0439E05F90CF}" srcOrd="7" destOrd="0" presId="urn:microsoft.com/office/officeart/2005/8/layout/orgChart1"/>
    <dgm:cxn modelId="{C0E11DFD-594B-42FC-94CD-7CF9FD4B1F36}" type="presParOf" srcId="{E81186D2-E81B-4639-83E1-0439E05F90CF}" destId="{016A32AD-D761-4D29-B69B-C723C9069D9A}" srcOrd="0" destOrd="0" presId="urn:microsoft.com/office/officeart/2005/8/layout/orgChart1"/>
    <dgm:cxn modelId="{BCAD893D-60E7-4EAA-B30D-ADDD5A94F6F9}" type="presParOf" srcId="{016A32AD-D761-4D29-B69B-C723C9069D9A}" destId="{1858FE6F-C78B-4223-A3E3-2DDC25316B80}" srcOrd="0" destOrd="0" presId="urn:microsoft.com/office/officeart/2005/8/layout/orgChart1"/>
    <dgm:cxn modelId="{6057CEDC-8777-4A1E-A909-E65C39FAC8F2}" type="presParOf" srcId="{016A32AD-D761-4D29-B69B-C723C9069D9A}" destId="{8074D157-92D0-4D70-A944-948F93C8C128}" srcOrd="1" destOrd="0" presId="urn:microsoft.com/office/officeart/2005/8/layout/orgChart1"/>
    <dgm:cxn modelId="{78766C5F-A64B-4491-9064-F6173F065C01}" type="presParOf" srcId="{E81186D2-E81B-4639-83E1-0439E05F90CF}" destId="{16F18522-8B42-406B-88E6-775E1288058D}" srcOrd="1" destOrd="0" presId="urn:microsoft.com/office/officeart/2005/8/layout/orgChart1"/>
    <dgm:cxn modelId="{483C3C59-92D5-4788-95C6-A2952972F73F}" type="presParOf" srcId="{16F18522-8B42-406B-88E6-775E1288058D}" destId="{FCD4641F-6696-4456-9D5C-7858B585773B}" srcOrd="0" destOrd="0" presId="urn:microsoft.com/office/officeart/2005/8/layout/orgChart1"/>
    <dgm:cxn modelId="{B8BE5244-32BD-4D95-A401-3819EB9646FC}" type="presParOf" srcId="{16F18522-8B42-406B-88E6-775E1288058D}" destId="{761D9387-58C4-4BFD-8886-1F9BC51557BE}" srcOrd="1" destOrd="0" presId="urn:microsoft.com/office/officeart/2005/8/layout/orgChart1"/>
    <dgm:cxn modelId="{BEEB5E1E-B14F-4ADA-B11B-576220CFCEA6}" type="presParOf" srcId="{761D9387-58C4-4BFD-8886-1F9BC51557BE}" destId="{648AF8CE-53FF-4D5A-9D92-C8507C8280E2}" srcOrd="0" destOrd="0" presId="urn:microsoft.com/office/officeart/2005/8/layout/orgChart1"/>
    <dgm:cxn modelId="{F3FFA106-FEE9-4BA4-AC1D-1E75FEBF22A4}" type="presParOf" srcId="{648AF8CE-53FF-4D5A-9D92-C8507C8280E2}" destId="{17F31B5D-C300-4621-B8B3-9A1859DB7A28}" srcOrd="0" destOrd="0" presId="urn:microsoft.com/office/officeart/2005/8/layout/orgChart1"/>
    <dgm:cxn modelId="{9E1E8FAD-94DD-4944-9170-8AFC009B354D}" type="presParOf" srcId="{648AF8CE-53FF-4D5A-9D92-C8507C8280E2}" destId="{B105AF55-D83B-43B9-8D82-9B6C2C454344}" srcOrd="1" destOrd="0" presId="urn:microsoft.com/office/officeart/2005/8/layout/orgChart1"/>
    <dgm:cxn modelId="{2FD9EA43-299F-4E2E-81A1-F00138C43AB6}" type="presParOf" srcId="{761D9387-58C4-4BFD-8886-1F9BC51557BE}" destId="{9D4B57C4-8DA6-4A44-AB9D-C2C706F84763}" srcOrd="1" destOrd="0" presId="urn:microsoft.com/office/officeart/2005/8/layout/orgChart1"/>
    <dgm:cxn modelId="{88D3037D-AFE3-40A0-A51C-7366F4945A66}" type="presParOf" srcId="{761D9387-58C4-4BFD-8886-1F9BC51557BE}" destId="{C4CF1222-2AB9-4B1C-A3AC-84781F782F20}" srcOrd="2" destOrd="0" presId="urn:microsoft.com/office/officeart/2005/8/layout/orgChart1"/>
    <dgm:cxn modelId="{6CF57B8D-2CFA-40EE-A41C-8F20637ABC14}" type="presParOf" srcId="{16F18522-8B42-406B-88E6-775E1288058D}" destId="{B510177F-6E7D-4242-A120-62313E62588B}" srcOrd="2" destOrd="0" presId="urn:microsoft.com/office/officeart/2005/8/layout/orgChart1"/>
    <dgm:cxn modelId="{B377970A-EDC1-4D48-9C0B-3838345F7B9F}" type="presParOf" srcId="{16F18522-8B42-406B-88E6-775E1288058D}" destId="{0392A8B1-6CE8-4290-BAE8-F7E704C6E1F7}" srcOrd="3" destOrd="0" presId="urn:microsoft.com/office/officeart/2005/8/layout/orgChart1"/>
    <dgm:cxn modelId="{7C5ADA7E-2EE2-4AA4-91BD-3C43D8585CD9}" type="presParOf" srcId="{0392A8B1-6CE8-4290-BAE8-F7E704C6E1F7}" destId="{1B41A424-7D20-46FE-9E21-FEAC9E89D04D}" srcOrd="0" destOrd="0" presId="urn:microsoft.com/office/officeart/2005/8/layout/orgChart1"/>
    <dgm:cxn modelId="{58C8D8A7-FC17-40F2-961A-F7FB1ECD5D62}" type="presParOf" srcId="{1B41A424-7D20-46FE-9E21-FEAC9E89D04D}" destId="{5F1A8E89-CAEA-4CF6-8B6D-495DC52FE8C0}" srcOrd="0" destOrd="0" presId="urn:microsoft.com/office/officeart/2005/8/layout/orgChart1"/>
    <dgm:cxn modelId="{FE07DABF-7C35-4CE1-B26B-5C54F468E178}" type="presParOf" srcId="{1B41A424-7D20-46FE-9E21-FEAC9E89D04D}" destId="{4015D5E4-EA2B-4394-813B-516065B681D4}" srcOrd="1" destOrd="0" presId="urn:microsoft.com/office/officeart/2005/8/layout/orgChart1"/>
    <dgm:cxn modelId="{5826EF67-8BA5-4ABA-BEB3-E8A136EEEB20}" type="presParOf" srcId="{0392A8B1-6CE8-4290-BAE8-F7E704C6E1F7}" destId="{EE571436-D023-4962-9012-5355B285DAB2}" srcOrd="1" destOrd="0" presId="urn:microsoft.com/office/officeart/2005/8/layout/orgChart1"/>
    <dgm:cxn modelId="{D5BEE659-ABD9-4520-A649-8CB2D4FF51D7}" type="presParOf" srcId="{0392A8B1-6CE8-4290-BAE8-F7E704C6E1F7}" destId="{EA1EC836-861A-40AE-9751-AAC758BA8AB5}" srcOrd="2" destOrd="0" presId="urn:microsoft.com/office/officeart/2005/8/layout/orgChart1"/>
    <dgm:cxn modelId="{A4FA20BF-4FBC-43C8-917F-92A7CFFE17A5}" type="presParOf" srcId="{E81186D2-E81B-4639-83E1-0439E05F90CF}" destId="{B56C6309-D84E-44F9-ADCE-46D8EB055A9D}" srcOrd="2" destOrd="0" presId="urn:microsoft.com/office/officeart/2005/8/layout/orgChart1"/>
    <dgm:cxn modelId="{F52DBF6A-65AF-405E-BEE4-9A767A8A321D}" type="presParOf" srcId="{3A2C620C-850E-4245-8F5C-7D68A458D75F}" destId="{1E64F1C5-562D-4688-A0A4-2AE9ADCD5A4F}" srcOrd="8" destOrd="0" presId="urn:microsoft.com/office/officeart/2005/8/layout/orgChart1"/>
    <dgm:cxn modelId="{13834CAE-F7B2-4786-8477-388DE1E417D3}" type="presParOf" srcId="{3A2C620C-850E-4245-8F5C-7D68A458D75F}" destId="{C2D73A47-90D1-4228-8659-4C85B360F773}" srcOrd="9" destOrd="0" presId="urn:microsoft.com/office/officeart/2005/8/layout/orgChart1"/>
    <dgm:cxn modelId="{72B205C7-B012-45BA-BF34-457BC79E36C2}" type="presParOf" srcId="{C2D73A47-90D1-4228-8659-4C85B360F773}" destId="{675B1A12-E978-4F40-8C26-99E8D73EAE8A}" srcOrd="0" destOrd="0" presId="urn:microsoft.com/office/officeart/2005/8/layout/orgChart1"/>
    <dgm:cxn modelId="{834BD272-E34E-4ED7-8AD8-5C9CCDEF35E9}" type="presParOf" srcId="{675B1A12-E978-4F40-8C26-99E8D73EAE8A}" destId="{E2997279-5AC9-4AE8-ABAE-BB36E66BCB77}" srcOrd="0" destOrd="0" presId="urn:microsoft.com/office/officeart/2005/8/layout/orgChart1"/>
    <dgm:cxn modelId="{C6BEE470-74E8-4058-ABD4-2B082FF81342}" type="presParOf" srcId="{675B1A12-E978-4F40-8C26-99E8D73EAE8A}" destId="{23276A55-82B8-49A2-9B79-0FC3801BDB8D}" srcOrd="1" destOrd="0" presId="urn:microsoft.com/office/officeart/2005/8/layout/orgChart1"/>
    <dgm:cxn modelId="{F4AD5BAD-77DA-402D-BEFF-4D3643444A8A}" type="presParOf" srcId="{C2D73A47-90D1-4228-8659-4C85B360F773}" destId="{C5330904-F273-4C14-9AD9-0532FF3E0CAA}" srcOrd="1" destOrd="0" presId="urn:microsoft.com/office/officeart/2005/8/layout/orgChart1"/>
    <dgm:cxn modelId="{779036E5-77DE-4AE3-B80C-4F35CC9E87CB}" type="presParOf" srcId="{C5330904-F273-4C14-9AD9-0532FF3E0CAA}" destId="{5131DF19-833B-478D-9D1E-642CB526C689}" srcOrd="0" destOrd="0" presId="urn:microsoft.com/office/officeart/2005/8/layout/orgChart1"/>
    <dgm:cxn modelId="{D0CCD6EB-1718-47A5-9273-A38B1FA064CF}" type="presParOf" srcId="{C5330904-F273-4C14-9AD9-0532FF3E0CAA}" destId="{19295FFB-1844-46FA-841F-3F3EAFA2D278}" srcOrd="1" destOrd="0" presId="urn:microsoft.com/office/officeart/2005/8/layout/orgChart1"/>
    <dgm:cxn modelId="{68F4E591-D148-44F5-BFE9-261998BD2C73}" type="presParOf" srcId="{19295FFB-1844-46FA-841F-3F3EAFA2D278}" destId="{6155D2D5-6E21-4075-8EB0-8F5F9632A62E}" srcOrd="0" destOrd="0" presId="urn:microsoft.com/office/officeart/2005/8/layout/orgChart1"/>
    <dgm:cxn modelId="{115FAAFC-3A14-497D-B106-B0C2464BDB6A}" type="presParOf" srcId="{6155D2D5-6E21-4075-8EB0-8F5F9632A62E}" destId="{1696E2A7-381C-44B6-B84C-951A6A22C0DB}" srcOrd="0" destOrd="0" presId="urn:microsoft.com/office/officeart/2005/8/layout/orgChart1"/>
    <dgm:cxn modelId="{97327013-2221-4DC5-8715-98BA5F778E9D}" type="presParOf" srcId="{6155D2D5-6E21-4075-8EB0-8F5F9632A62E}" destId="{E7E74F7B-65AB-47AA-9B4E-66586BA0916C}" srcOrd="1" destOrd="0" presId="urn:microsoft.com/office/officeart/2005/8/layout/orgChart1"/>
    <dgm:cxn modelId="{807E28A7-9086-47A5-B7EF-D98AD062AA9C}" type="presParOf" srcId="{19295FFB-1844-46FA-841F-3F3EAFA2D278}" destId="{ADBB43F5-1EEE-4096-9D3E-FD7BE1EB8F45}" srcOrd="1" destOrd="0" presId="urn:microsoft.com/office/officeart/2005/8/layout/orgChart1"/>
    <dgm:cxn modelId="{62A5B72B-D4D9-48CE-83E8-30102211E9E8}" type="presParOf" srcId="{19295FFB-1844-46FA-841F-3F3EAFA2D278}" destId="{68701006-FF09-423A-BC08-6F0AFB8E690E}" srcOrd="2" destOrd="0" presId="urn:microsoft.com/office/officeart/2005/8/layout/orgChart1"/>
    <dgm:cxn modelId="{E9FD278D-7F7D-4861-BA14-FBAE5505D186}" type="presParOf" srcId="{C5330904-F273-4C14-9AD9-0532FF3E0CAA}" destId="{05DD5D46-D480-4599-B6D1-B58A39F43BDC}" srcOrd="2" destOrd="0" presId="urn:microsoft.com/office/officeart/2005/8/layout/orgChart1"/>
    <dgm:cxn modelId="{56436FD4-B988-49DC-AD0C-DD92C516A94C}" type="presParOf" srcId="{C5330904-F273-4C14-9AD9-0532FF3E0CAA}" destId="{D276EF14-47F2-4707-8000-E693301E05CD}" srcOrd="3" destOrd="0" presId="urn:microsoft.com/office/officeart/2005/8/layout/orgChart1"/>
    <dgm:cxn modelId="{898B6D10-4B86-484B-93C7-F0C0CA8EA538}" type="presParOf" srcId="{D276EF14-47F2-4707-8000-E693301E05CD}" destId="{72E4EFF9-92C7-407C-9F54-57397C8CCD24}" srcOrd="0" destOrd="0" presId="urn:microsoft.com/office/officeart/2005/8/layout/orgChart1"/>
    <dgm:cxn modelId="{A0134F81-DF07-43DD-8656-F2D485C326E1}" type="presParOf" srcId="{72E4EFF9-92C7-407C-9F54-57397C8CCD24}" destId="{AB4AD639-C0AD-4213-A847-C8A37F76A6BB}" srcOrd="0" destOrd="0" presId="urn:microsoft.com/office/officeart/2005/8/layout/orgChart1"/>
    <dgm:cxn modelId="{21384F3E-B8FD-4201-94F1-00CFC2BF119F}" type="presParOf" srcId="{72E4EFF9-92C7-407C-9F54-57397C8CCD24}" destId="{CF2DC1A8-7A46-4EC9-8746-7B13422AFDAD}" srcOrd="1" destOrd="0" presId="urn:microsoft.com/office/officeart/2005/8/layout/orgChart1"/>
    <dgm:cxn modelId="{75C01F49-1A13-4C9A-9515-85CE1E150F63}" type="presParOf" srcId="{D276EF14-47F2-4707-8000-E693301E05CD}" destId="{F1EEE770-C0AA-46E6-9120-7F68B6B51298}" srcOrd="1" destOrd="0" presId="urn:microsoft.com/office/officeart/2005/8/layout/orgChart1"/>
    <dgm:cxn modelId="{49BD8C19-D3DC-48B7-AFB4-4B0F869AF518}" type="presParOf" srcId="{D276EF14-47F2-4707-8000-E693301E05CD}" destId="{0EF98FAE-ECED-406F-8273-658E8BF87EAB}" srcOrd="2" destOrd="0" presId="urn:microsoft.com/office/officeart/2005/8/layout/orgChart1"/>
    <dgm:cxn modelId="{2D4E9915-00A0-4A45-9B9C-3A29BEA73F2A}" type="presParOf" srcId="{C5330904-F273-4C14-9AD9-0532FF3E0CAA}" destId="{989BB5C3-A9D6-42FE-BD31-AFA28ED24E16}" srcOrd="4" destOrd="0" presId="urn:microsoft.com/office/officeart/2005/8/layout/orgChart1"/>
    <dgm:cxn modelId="{068CCB43-C68C-48BF-9FA4-663E41CBC780}" type="presParOf" srcId="{C5330904-F273-4C14-9AD9-0532FF3E0CAA}" destId="{0ABDC1A7-883D-412B-97C3-8C784BBFCE72}" srcOrd="5" destOrd="0" presId="urn:microsoft.com/office/officeart/2005/8/layout/orgChart1"/>
    <dgm:cxn modelId="{1008AC10-31CB-4893-B119-CD2716728367}" type="presParOf" srcId="{0ABDC1A7-883D-412B-97C3-8C784BBFCE72}" destId="{2A9A366B-201D-4D48-8DDA-8E0DC22F8448}" srcOrd="0" destOrd="0" presId="urn:microsoft.com/office/officeart/2005/8/layout/orgChart1"/>
    <dgm:cxn modelId="{B313FB16-CB11-400D-AA4C-71A32A59EAB0}" type="presParOf" srcId="{2A9A366B-201D-4D48-8DDA-8E0DC22F8448}" destId="{05158794-07A8-424B-8B14-3F384166DEF9}" srcOrd="0" destOrd="0" presId="urn:microsoft.com/office/officeart/2005/8/layout/orgChart1"/>
    <dgm:cxn modelId="{7772FEDF-49EF-4B2D-814C-B9B4FAADE4BA}" type="presParOf" srcId="{2A9A366B-201D-4D48-8DDA-8E0DC22F8448}" destId="{83CBFCC4-FD81-4572-8C32-90316BB787A8}" srcOrd="1" destOrd="0" presId="urn:microsoft.com/office/officeart/2005/8/layout/orgChart1"/>
    <dgm:cxn modelId="{045CFCBE-9D90-4B8B-8D49-49BC5C6DD8F1}" type="presParOf" srcId="{0ABDC1A7-883D-412B-97C3-8C784BBFCE72}" destId="{7270F88E-F5EF-4738-86BF-EFD7E04D1639}" srcOrd="1" destOrd="0" presId="urn:microsoft.com/office/officeart/2005/8/layout/orgChart1"/>
    <dgm:cxn modelId="{E243E07A-87F4-4C82-A014-ED4634E0CB9C}" type="presParOf" srcId="{0ABDC1A7-883D-412B-97C3-8C784BBFCE72}" destId="{AA292D48-AAD6-447D-B719-19A4D4371F31}" srcOrd="2" destOrd="0" presId="urn:microsoft.com/office/officeart/2005/8/layout/orgChart1"/>
    <dgm:cxn modelId="{7F731606-91F8-488C-9CC4-C6CCBBAC8842}" type="presParOf" srcId="{C2D73A47-90D1-4228-8659-4C85B360F773}" destId="{7ADEE37A-DAFB-4DFE-9B4B-0DE1C5C6EB5E}" srcOrd="2" destOrd="0" presId="urn:microsoft.com/office/officeart/2005/8/layout/orgChart1"/>
    <dgm:cxn modelId="{8C944C82-090B-4884-A25B-FCD9F7A67DC1}" type="presParOf" srcId="{3A2C620C-850E-4245-8F5C-7D68A458D75F}" destId="{F2E3AEC8-FCA7-4183-9658-A9EE6906F75A}" srcOrd="10" destOrd="0" presId="urn:microsoft.com/office/officeart/2005/8/layout/orgChart1"/>
    <dgm:cxn modelId="{22F2597E-4082-4141-94F0-E108774497D8}" type="presParOf" srcId="{3A2C620C-850E-4245-8F5C-7D68A458D75F}" destId="{A96C4F64-AAA8-46CC-A39B-A50E8ED302EE}" srcOrd="11" destOrd="0" presId="urn:microsoft.com/office/officeart/2005/8/layout/orgChart1"/>
    <dgm:cxn modelId="{53A55C1B-6111-4444-8D79-EF7198C88F4F}" type="presParOf" srcId="{A96C4F64-AAA8-46CC-A39B-A50E8ED302EE}" destId="{4D05D4BA-2940-4048-BE4F-68F3172C858B}" srcOrd="0" destOrd="0" presId="urn:microsoft.com/office/officeart/2005/8/layout/orgChart1"/>
    <dgm:cxn modelId="{927F5DB0-B358-4C98-A75E-9B3BC90602DA}" type="presParOf" srcId="{4D05D4BA-2940-4048-BE4F-68F3172C858B}" destId="{ABC94E04-8293-493D-8514-31CFFE0E6F45}" srcOrd="0" destOrd="0" presId="urn:microsoft.com/office/officeart/2005/8/layout/orgChart1"/>
    <dgm:cxn modelId="{7B8F0E7A-9864-4B29-B5CF-D706C2DCCCEE}" type="presParOf" srcId="{4D05D4BA-2940-4048-BE4F-68F3172C858B}" destId="{D803CB76-A6EA-4964-8B83-70309C86F6A9}" srcOrd="1" destOrd="0" presId="urn:microsoft.com/office/officeart/2005/8/layout/orgChart1"/>
    <dgm:cxn modelId="{EDE2B30D-8400-4AF9-8A91-D3547B1E9DCB}" type="presParOf" srcId="{A96C4F64-AAA8-46CC-A39B-A50E8ED302EE}" destId="{1F969C0E-C979-45FE-AC2C-3E3476E6C056}" srcOrd="1" destOrd="0" presId="urn:microsoft.com/office/officeart/2005/8/layout/orgChart1"/>
    <dgm:cxn modelId="{8836A218-4170-4049-A953-D79389438991}" type="presParOf" srcId="{1F969C0E-C979-45FE-AC2C-3E3476E6C056}" destId="{FB79EBC6-8BD0-466C-8BB4-C18323620429}" srcOrd="0" destOrd="0" presId="urn:microsoft.com/office/officeart/2005/8/layout/orgChart1"/>
    <dgm:cxn modelId="{DF5C4D6D-BA0E-4F5F-9759-4FE6C15C4CCC}" type="presParOf" srcId="{1F969C0E-C979-45FE-AC2C-3E3476E6C056}" destId="{8A20A619-1209-4BD8-8018-0EF8DA182F5D}" srcOrd="1" destOrd="0" presId="urn:microsoft.com/office/officeart/2005/8/layout/orgChart1"/>
    <dgm:cxn modelId="{53EA5C4E-78B9-45CB-8FB1-413B47D9E8C0}" type="presParOf" srcId="{8A20A619-1209-4BD8-8018-0EF8DA182F5D}" destId="{FF4B5BB3-095E-4FCC-B4C5-704FF5AEEF9C}" srcOrd="0" destOrd="0" presId="urn:microsoft.com/office/officeart/2005/8/layout/orgChart1"/>
    <dgm:cxn modelId="{0A0BBDD5-4970-4D7D-8A86-F873F437CF0E}" type="presParOf" srcId="{FF4B5BB3-095E-4FCC-B4C5-704FF5AEEF9C}" destId="{D129407A-E674-4CCC-9D4D-39CCD5F992B7}" srcOrd="0" destOrd="0" presId="urn:microsoft.com/office/officeart/2005/8/layout/orgChart1"/>
    <dgm:cxn modelId="{6FED2919-8017-49FE-AB70-4B2B1C8AD96F}" type="presParOf" srcId="{FF4B5BB3-095E-4FCC-B4C5-704FF5AEEF9C}" destId="{E7EA0F8B-DC9F-4D1C-A0EA-645195BE1F96}" srcOrd="1" destOrd="0" presId="urn:microsoft.com/office/officeart/2005/8/layout/orgChart1"/>
    <dgm:cxn modelId="{D4AFA17B-1D89-4727-844A-730DA93D3428}" type="presParOf" srcId="{8A20A619-1209-4BD8-8018-0EF8DA182F5D}" destId="{DD930597-B810-40E6-99BD-EB6254AE4CE6}" srcOrd="1" destOrd="0" presId="urn:microsoft.com/office/officeart/2005/8/layout/orgChart1"/>
    <dgm:cxn modelId="{0134BD84-037D-410D-B4B6-EE2C65727CBC}" type="presParOf" srcId="{8A20A619-1209-4BD8-8018-0EF8DA182F5D}" destId="{61822ABB-1449-4B1B-9988-407CD0F1F1B6}" srcOrd="2" destOrd="0" presId="urn:microsoft.com/office/officeart/2005/8/layout/orgChart1"/>
    <dgm:cxn modelId="{83115E4D-E6CD-4A21-8A0C-0FDA2C554850}" type="presParOf" srcId="{1F969C0E-C979-45FE-AC2C-3E3476E6C056}" destId="{92CEEC79-63CF-479E-A0CE-929B08B48AA5}" srcOrd="2" destOrd="0" presId="urn:microsoft.com/office/officeart/2005/8/layout/orgChart1"/>
    <dgm:cxn modelId="{540091EB-3359-470E-AC7D-81D47BAB585B}" type="presParOf" srcId="{1F969C0E-C979-45FE-AC2C-3E3476E6C056}" destId="{F39C9D03-2F79-46CD-B068-D53CBFBFB019}" srcOrd="3" destOrd="0" presId="urn:microsoft.com/office/officeart/2005/8/layout/orgChart1"/>
    <dgm:cxn modelId="{32D35BCB-111F-453C-9BF3-A9C383695024}" type="presParOf" srcId="{F39C9D03-2F79-46CD-B068-D53CBFBFB019}" destId="{0979CD15-C6E4-43F8-B699-6606E0A4A429}" srcOrd="0" destOrd="0" presId="urn:microsoft.com/office/officeart/2005/8/layout/orgChart1"/>
    <dgm:cxn modelId="{4379DE88-7A4E-4C14-B6F7-54F584FE4FD2}" type="presParOf" srcId="{0979CD15-C6E4-43F8-B699-6606E0A4A429}" destId="{9DE424CA-244B-4461-BB9A-C1C9B57E85CD}" srcOrd="0" destOrd="0" presId="urn:microsoft.com/office/officeart/2005/8/layout/orgChart1"/>
    <dgm:cxn modelId="{58D19F01-DEAB-4E74-A138-F3FEB8535458}" type="presParOf" srcId="{0979CD15-C6E4-43F8-B699-6606E0A4A429}" destId="{702B7380-F0E9-4DDC-96C0-6EF2DC20F7EE}" srcOrd="1" destOrd="0" presId="urn:microsoft.com/office/officeart/2005/8/layout/orgChart1"/>
    <dgm:cxn modelId="{234A9854-D65C-4E5A-A32A-1A21CCD7B2A0}" type="presParOf" srcId="{F39C9D03-2F79-46CD-B068-D53CBFBFB019}" destId="{62C28A02-8818-4C32-8774-DB2FD6B19CBB}" srcOrd="1" destOrd="0" presId="urn:microsoft.com/office/officeart/2005/8/layout/orgChart1"/>
    <dgm:cxn modelId="{5AEDA6BD-4108-4067-972D-D22C51D70D53}" type="presParOf" srcId="{F39C9D03-2F79-46CD-B068-D53CBFBFB019}" destId="{E9B32DFC-1491-4B27-943D-FFEA552802CA}" srcOrd="2" destOrd="0" presId="urn:microsoft.com/office/officeart/2005/8/layout/orgChart1"/>
    <dgm:cxn modelId="{518D6D39-A6BE-4A92-8943-8023667493DC}" type="presParOf" srcId="{1F969C0E-C979-45FE-AC2C-3E3476E6C056}" destId="{DA55687F-B621-461F-A807-A02EFD0757C7}" srcOrd="4" destOrd="0" presId="urn:microsoft.com/office/officeart/2005/8/layout/orgChart1"/>
    <dgm:cxn modelId="{4FE5FE2B-1A10-4B12-8B03-492D261D2AD4}" type="presParOf" srcId="{1F969C0E-C979-45FE-AC2C-3E3476E6C056}" destId="{174FD8B7-E6D6-4354-B2B9-F097B17B6589}" srcOrd="5" destOrd="0" presId="urn:microsoft.com/office/officeart/2005/8/layout/orgChart1"/>
    <dgm:cxn modelId="{30B28122-328D-4845-A3DC-AF9ABE1B5649}" type="presParOf" srcId="{174FD8B7-E6D6-4354-B2B9-F097B17B6589}" destId="{9C66CB85-77DC-400A-A574-2E8086A6476E}" srcOrd="0" destOrd="0" presId="urn:microsoft.com/office/officeart/2005/8/layout/orgChart1"/>
    <dgm:cxn modelId="{FB46DD6E-3D86-4571-8464-1658E8BC2DDA}" type="presParOf" srcId="{9C66CB85-77DC-400A-A574-2E8086A6476E}" destId="{A0600CA1-6837-467A-BBE4-7C325553B306}" srcOrd="0" destOrd="0" presId="urn:microsoft.com/office/officeart/2005/8/layout/orgChart1"/>
    <dgm:cxn modelId="{37C2626D-D628-4EA0-B84D-A98B213FD051}" type="presParOf" srcId="{9C66CB85-77DC-400A-A574-2E8086A6476E}" destId="{BCEC2044-0670-4CF7-92A8-DDF7BC0A2B34}" srcOrd="1" destOrd="0" presId="urn:microsoft.com/office/officeart/2005/8/layout/orgChart1"/>
    <dgm:cxn modelId="{3974741E-7348-46C2-AF3A-5A7095FF82C0}" type="presParOf" srcId="{174FD8B7-E6D6-4354-B2B9-F097B17B6589}" destId="{60F8CD5C-F116-4C91-9C3E-F0F7FC221B96}" srcOrd="1" destOrd="0" presId="urn:microsoft.com/office/officeart/2005/8/layout/orgChart1"/>
    <dgm:cxn modelId="{0A4CF0D1-2CF5-481D-A0A9-D182F482214F}" type="presParOf" srcId="{174FD8B7-E6D6-4354-B2B9-F097B17B6589}" destId="{307FFCA4-1D87-435C-AC0A-6B0E32D91647}" srcOrd="2" destOrd="0" presId="urn:microsoft.com/office/officeart/2005/8/layout/orgChart1"/>
    <dgm:cxn modelId="{A79AD0DC-0C69-40A9-AB0C-5C526DE90FB4}" type="presParOf" srcId="{A96C4F64-AAA8-46CC-A39B-A50E8ED302EE}" destId="{24A50CB2-964A-4084-92EC-9A771F87520C}" srcOrd="2" destOrd="0" presId="urn:microsoft.com/office/officeart/2005/8/layout/orgChart1"/>
    <dgm:cxn modelId="{DD3024EB-6ABB-4EFB-A39D-69678AEFF817}" type="presParOf" srcId="{3A2C620C-850E-4245-8F5C-7D68A458D75F}" destId="{370E837C-62E3-48AA-A2C8-E15C50F40248}" srcOrd="12" destOrd="0" presId="urn:microsoft.com/office/officeart/2005/8/layout/orgChart1"/>
    <dgm:cxn modelId="{ABB0ADD6-9F5C-4B29-8279-A1C33BA9B3B3}" type="presParOf" srcId="{3A2C620C-850E-4245-8F5C-7D68A458D75F}" destId="{8DF93F3C-20A7-4DF0-9669-7FCBCE895818}" srcOrd="13" destOrd="0" presId="urn:microsoft.com/office/officeart/2005/8/layout/orgChart1"/>
    <dgm:cxn modelId="{9CF3370C-8CE2-457F-86CA-21A76D9302A2}" type="presParOf" srcId="{8DF93F3C-20A7-4DF0-9669-7FCBCE895818}" destId="{5897CDAF-F39F-4EDF-8CCD-1330CBA7496F}" srcOrd="0" destOrd="0" presId="urn:microsoft.com/office/officeart/2005/8/layout/orgChart1"/>
    <dgm:cxn modelId="{13351BE9-2652-4A5A-A56A-17C4D90211CC}" type="presParOf" srcId="{5897CDAF-F39F-4EDF-8CCD-1330CBA7496F}" destId="{6364127C-9824-4DC7-9C34-4082163B24A4}" srcOrd="0" destOrd="0" presId="urn:microsoft.com/office/officeart/2005/8/layout/orgChart1"/>
    <dgm:cxn modelId="{CB1726CF-7FE6-49D7-B57C-6F01592DF1A3}" type="presParOf" srcId="{5897CDAF-F39F-4EDF-8CCD-1330CBA7496F}" destId="{ACD1B44D-AEE6-483A-9AB3-16F968A35EDB}" srcOrd="1" destOrd="0" presId="urn:microsoft.com/office/officeart/2005/8/layout/orgChart1"/>
    <dgm:cxn modelId="{E967EAE3-B2CE-4F1A-8E27-D22FC7AF7F86}" type="presParOf" srcId="{8DF93F3C-20A7-4DF0-9669-7FCBCE895818}" destId="{C33CBAEC-BAD4-4A3F-A91C-AB67AB8999D0}" srcOrd="1" destOrd="0" presId="urn:microsoft.com/office/officeart/2005/8/layout/orgChart1"/>
    <dgm:cxn modelId="{9C8368F0-4651-4F32-B31B-03E5ED3C05DE}" type="presParOf" srcId="{C33CBAEC-BAD4-4A3F-A91C-AB67AB8999D0}" destId="{3C793CCD-6273-416E-98FF-DE4E399C9433}" srcOrd="0" destOrd="0" presId="urn:microsoft.com/office/officeart/2005/8/layout/orgChart1"/>
    <dgm:cxn modelId="{1A2C5886-EFEA-4F77-A9B7-CE4DE99D4E10}" type="presParOf" srcId="{C33CBAEC-BAD4-4A3F-A91C-AB67AB8999D0}" destId="{A5A46D79-C0A3-4D96-98CE-051573A5F33F}" srcOrd="1" destOrd="0" presId="urn:microsoft.com/office/officeart/2005/8/layout/orgChart1"/>
    <dgm:cxn modelId="{9E30A50F-7239-4CD4-A110-85A81231EA98}" type="presParOf" srcId="{A5A46D79-C0A3-4D96-98CE-051573A5F33F}" destId="{B904D50E-07EC-426C-824A-93A9544608FE}" srcOrd="0" destOrd="0" presId="urn:microsoft.com/office/officeart/2005/8/layout/orgChart1"/>
    <dgm:cxn modelId="{2508E918-0213-4B25-BFD5-5373B1F0A0EE}" type="presParOf" srcId="{B904D50E-07EC-426C-824A-93A9544608FE}" destId="{A6A0AFEF-CA0B-414F-A5D3-50E898202EF9}" srcOrd="0" destOrd="0" presId="urn:microsoft.com/office/officeart/2005/8/layout/orgChart1"/>
    <dgm:cxn modelId="{826D2BF8-570C-474C-9A6F-F1CEB73B2A23}" type="presParOf" srcId="{B904D50E-07EC-426C-824A-93A9544608FE}" destId="{F141C118-D5D1-46A1-B30A-4F9A92F67BA0}" srcOrd="1" destOrd="0" presId="urn:microsoft.com/office/officeart/2005/8/layout/orgChart1"/>
    <dgm:cxn modelId="{3260393D-30FB-4648-B40B-9FC4EDAD810C}" type="presParOf" srcId="{A5A46D79-C0A3-4D96-98CE-051573A5F33F}" destId="{189B629D-7B85-456E-B9E4-F556FAD31AB6}" srcOrd="1" destOrd="0" presId="urn:microsoft.com/office/officeart/2005/8/layout/orgChart1"/>
    <dgm:cxn modelId="{2F73511D-73E0-4E4B-A37D-DE56AA6650CC}" type="presParOf" srcId="{A5A46D79-C0A3-4D96-98CE-051573A5F33F}" destId="{F985B63E-E467-4AA4-942B-4A9EC22BED82}" srcOrd="2" destOrd="0" presId="urn:microsoft.com/office/officeart/2005/8/layout/orgChart1"/>
    <dgm:cxn modelId="{AD313803-93FC-4273-A947-72ED8DAB59C0}" type="presParOf" srcId="{C33CBAEC-BAD4-4A3F-A91C-AB67AB8999D0}" destId="{0112E7A7-4971-45B6-86BD-F87362ADDE87}" srcOrd="2" destOrd="0" presId="urn:microsoft.com/office/officeart/2005/8/layout/orgChart1"/>
    <dgm:cxn modelId="{6953A96C-7270-43E1-AFC1-0FF9053017C8}" type="presParOf" srcId="{C33CBAEC-BAD4-4A3F-A91C-AB67AB8999D0}" destId="{5A29208B-9E0E-43A0-B1FD-87BE8B428D09}" srcOrd="3" destOrd="0" presId="urn:microsoft.com/office/officeart/2005/8/layout/orgChart1"/>
    <dgm:cxn modelId="{7091CC68-8B92-4906-AB76-9E086F6C6AD6}" type="presParOf" srcId="{5A29208B-9E0E-43A0-B1FD-87BE8B428D09}" destId="{EF799256-D9CB-4B4F-A8E9-E87C59833442}" srcOrd="0" destOrd="0" presId="urn:microsoft.com/office/officeart/2005/8/layout/orgChart1"/>
    <dgm:cxn modelId="{D34DBD40-CE66-496E-B00B-7F276CE84E56}" type="presParOf" srcId="{EF799256-D9CB-4B4F-A8E9-E87C59833442}" destId="{3E05D4DB-58F3-4B21-9270-C394E5EBC039}" srcOrd="0" destOrd="0" presId="urn:microsoft.com/office/officeart/2005/8/layout/orgChart1"/>
    <dgm:cxn modelId="{B7C21355-BFFE-4C14-89D5-700752BF2C14}" type="presParOf" srcId="{EF799256-D9CB-4B4F-A8E9-E87C59833442}" destId="{E4BF2102-0AB2-49C9-B97F-D7733DD75710}" srcOrd="1" destOrd="0" presId="urn:microsoft.com/office/officeart/2005/8/layout/orgChart1"/>
    <dgm:cxn modelId="{C33B04DD-4A23-438C-8A98-E4CCC7385448}" type="presParOf" srcId="{5A29208B-9E0E-43A0-B1FD-87BE8B428D09}" destId="{B6B2524B-E56C-4D63-B680-2C5696F911B8}" srcOrd="1" destOrd="0" presId="urn:microsoft.com/office/officeart/2005/8/layout/orgChart1"/>
    <dgm:cxn modelId="{6F047603-62C3-4324-93F4-07E13C5A0804}" type="presParOf" srcId="{5A29208B-9E0E-43A0-B1FD-87BE8B428D09}" destId="{CF5D859D-9EEF-4237-9F07-20DF73B0EC76}" srcOrd="2" destOrd="0" presId="urn:microsoft.com/office/officeart/2005/8/layout/orgChart1"/>
    <dgm:cxn modelId="{74FE477E-1CA9-42FF-AA2C-FE920663636E}" type="presParOf" srcId="{C33CBAEC-BAD4-4A3F-A91C-AB67AB8999D0}" destId="{AE89E0B0-E3AD-43B2-B12C-883A262263EC}" srcOrd="4" destOrd="0" presId="urn:microsoft.com/office/officeart/2005/8/layout/orgChart1"/>
    <dgm:cxn modelId="{B90A4FF2-BD88-4145-93EB-7E540F2FF616}" type="presParOf" srcId="{C33CBAEC-BAD4-4A3F-A91C-AB67AB8999D0}" destId="{42E374F2-6941-4033-BEDB-7B7E00BB39FE}" srcOrd="5" destOrd="0" presId="urn:microsoft.com/office/officeart/2005/8/layout/orgChart1"/>
    <dgm:cxn modelId="{914A4986-6BD8-4D1E-BC9E-1E47DB65D998}" type="presParOf" srcId="{42E374F2-6941-4033-BEDB-7B7E00BB39FE}" destId="{83739A82-E457-4970-9678-05FCBB44B8F5}" srcOrd="0" destOrd="0" presId="urn:microsoft.com/office/officeart/2005/8/layout/orgChart1"/>
    <dgm:cxn modelId="{BEE7726F-F88D-4736-8499-FF8BDD10BB67}" type="presParOf" srcId="{83739A82-E457-4970-9678-05FCBB44B8F5}" destId="{1E5C411A-F8D1-4ED5-B181-745ACF12319B}" srcOrd="0" destOrd="0" presId="urn:microsoft.com/office/officeart/2005/8/layout/orgChart1"/>
    <dgm:cxn modelId="{A8E2F331-2CF4-4E08-BEC4-E051923EF600}" type="presParOf" srcId="{83739A82-E457-4970-9678-05FCBB44B8F5}" destId="{8B091A8D-BDA6-41C0-AB54-1D0568040EC9}" srcOrd="1" destOrd="0" presId="urn:microsoft.com/office/officeart/2005/8/layout/orgChart1"/>
    <dgm:cxn modelId="{6CAFFB17-0B13-455A-804E-C40E560AD868}" type="presParOf" srcId="{42E374F2-6941-4033-BEDB-7B7E00BB39FE}" destId="{23AFA716-30AE-4244-9A10-4C787D631A26}" srcOrd="1" destOrd="0" presId="urn:microsoft.com/office/officeart/2005/8/layout/orgChart1"/>
    <dgm:cxn modelId="{B10AA437-A7CE-478B-8698-D0EABD94DEBD}" type="presParOf" srcId="{42E374F2-6941-4033-BEDB-7B7E00BB39FE}" destId="{B4B04AE9-D7B9-4E2F-B958-F5D744B5B0EB}" srcOrd="2" destOrd="0" presId="urn:microsoft.com/office/officeart/2005/8/layout/orgChart1"/>
    <dgm:cxn modelId="{6307A383-A57F-4926-B1A7-892F35F92FE1}" type="presParOf" srcId="{8DF93F3C-20A7-4DF0-9669-7FCBCE895818}" destId="{6CCA966C-8A61-4337-B5A3-72ED02CED9E0}" srcOrd="2" destOrd="0" presId="urn:microsoft.com/office/officeart/2005/8/layout/orgChart1"/>
    <dgm:cxn modelId="{D3FE3549-D99D-41A6-B1EF-67E1F65ECB55}" type="presParOf" srcId="{55E40242-4C4B-4156-B054-239B18E2A9F5}" destId="{8B52FD13-1574-401F-B3F3-726CDFA1F186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89E0B0-E3AD-43B2-B12C-883A262263EC}">
      <dsp:nvSpPr>
        <dsp:cNvPr id="0" name=""/>
        <dsp:cNvSpPr/>
      </dsp:nvSpPr>
      <dsp:spPr>
        <a:xfrm>
          <a:off x="7532569" y="2352206"/>
          <a:ext cx="149139" cy="18692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493"/>
              </a:lnTo>
              <a:lnTo>
                <a:pt x="108549" y="1360493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12E7A7-4971-45B6-86BD-F87362ADDE87}">
      <dsp:nvSpPr>
        <dsp:cNvPr id="0" name=""/>
        <dsp:cNvSpPr/>
      </dsp:nvSpPr>
      <dsp:spPr>
        <a:xfrm>
          <a:off x="7532569" y="2352206"/>
          <a:ext cx="149139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793CCD-6273-416E-98FF-DE4E399C9433}">
      <dsp:nvSpPr>
        <dsp:cNvPr id="0" name=""/>
        <dsp:cNvSpPr/>
      </dsp:nvSpPr>
      <dsp:spPr>
        <a:xfrm>
          <a:off x="7532569" y="2352206"/>
          <a:ext cx="149139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0E837C-62E3-48AA-A2C8-E15C50F40248}">
      <dsp:nvSpPr>
        <dsp:cNvPr id="0" name=""/>
        <dsp:cNvSpPr/>
      </dsp:nvSpPr>
      <dsp:spPr>
        <a:xfrm>
          <a:off x="4213944" y="1646278"/>
          <a:ext cx="3716330" cy="2087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984"/>
              </a:lnTo>
              <a:lnTo>
                <a:pt x="2704895" y="75984"/>
              </a:lnTo>
              <a:lnTo>
                <a:pt x="2704895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55687F-B621-461F-A807-A02EFD0757C7}">
      <dsp:nvSpPr>
        <dsp:cNvPr id="0" name=""/>
        <dsp:cNvSpPr/>
      </dsp:nvSpPr>
      <dsp:spPr>
        <a:xfrm>
          <a:off x="6329508" y="2352206"/>
          <a:ext cx="149139" cy="18692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493"/>
              </a:lnTo>
              <a:lnTo>
                <a:pt x="108549" y="1360493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CEEC79-63CF-479E-A0CE-929B08B48AA5}">
      <dsp:nvSpPr>
        <dsp:cNvPr id="0" name=""/>
        <dsp:cNvSpPr/>
      </dsp:nvSpPr>
      <dsp:spPr>
        <a:xfrm>
          <a:off x="6329508" y="2352206"/>
          <a:ext cx="149139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79EBC6-8BD0-466C-8BB4-C18323620429}">
      <dsp:nvSpPr>
        <dsp:cNvPr id="0" name=""/>
        <dsp:cNvSpPr/>
      </dsp:nvSpPr>
      <dsp:spPr>
        <a:xfrm>
          <a:off x="6329508" y="2352206"/>
          <a:ext cx="149139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E3AEC8-FCA7-4183-9658-A9EE6906F75A}">
      <dsp:nvSpPr>
        <dsp:cNvPr id="0" name=""/>
        <dsp:cNvSpPr/>
      </dsp:nvSpPr>
      <dsp:spPr>
        <a:xfrm>
          <a:off x="4213944" y="1646278"/>
          <a:ext cx="2513269" cy="2087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984"/>
              </a:lnTo>
              <a:lnTo>
                <a:pt x="1829259" y="75984"/>
              </a:lnTo>
              <a:lnTo>
                <a:pt x="1829259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9BB5C3-A9D6-42FE-BD31-AFA28ED24E16}">
      <dsp:nvSpPr>
        <dsp:cNvPr id="0" name=""/>
        <dsp:cNvSpPr/>
      </dsp:nvSpPr>
      <dsp:spPr>
        <a:xfrm>
          <a:off x="5126446" y="2352206"/>
          <a:ext cx="149139" cy="18692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493"/>
              </a:lnTo>
              <a:lnTo>
                <a:pt x="108549" y="1360493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5DD5D46-D480-4599-B6D1-B58A39F43BDC}">
      <dsp:nvSpPr>
        <dsp:cNvPr id="0" name=""/>
        <dsp:cNvSpPr/>
      </dsp:nvSpPr>
      <dsp:spPr>
        <a:xfrm>
          <a:off x="5126446" y="2352206"/>
          <a:ext cx="149139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31DF19-833B-478D-9D1E-642CB526C689}">
      <dsp:nvSpPr>
        <dsp:cNvPr id="0" name=""/>
        <dsp:cNvSpPr/>
      </dsp:nvSpPr>
      <dsp:spPr>
        <a:xfrm>
          <a:off x="5126446" y="2352206"/>
          <a:ext cx="149139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64F1C5-562D-4688-A0A4-2AE9ADCD5A4F}">
      <dsp:nvSpPr>
        <dsp:cNvPr id="0" name=""/>
        <dsp:cNvSpPr/>
      </dsp:nvSpPr>
      <dsp:spPr>
        <a:xfrm>
          <a:off x="4213944" y="1646278"/>
          <a:ext cx="1310208" cy="2087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984"/>
              </a:lnTo>
              <a:lnTo>
                <a:pt x="953622" y="75984"/>
              </a:lnTo>
              <a:lnTo>
                <a:pt x="953622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10177F-6E7D-4242-A120-62313E62588B}">
      <dsp:nvSpPr>
        <dsp:cNvPr id="0" name=""/>
        <dsp:cNvSpPr/>
      </dsp:nvSpPr>
      <dsp:spPr>
        <a:xfrm>
          <a:off x="3730520" y="2352206"/>
          <a:ext cx="181283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31945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D4641F-6696-4456-9D5C-7858B585773B}">
      <dsp:nvSpPr>
        <dsp:cNvPr id="0" name=""/>
        <dsp:cNvSpPr/>
      </dsp:nvSpPr>
      <dsp:spPr>
        <a:xfrm>
          <a:off x="3730520" y="2352206"/>
          <a:ext cx="181283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31945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8209D3-18F5-42F3-B19B-418F3E41542D}">
      <dsp:nvSpPr>
        <dsp:cNvPr id="0" name=""/>
        <dsp:cNvSpPr/>
      </dsp:nvSpPr>
      <dsp:spPr>
        <a:xfrm>
          <a:off x="4168224" y="1646278"/>
          <a:ext cx="91440" cy="20879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21F98B-FA72-4289-9D8D-8F63DA4B5FC0}">
      <dsp:nvSpPr>
        <dsp:cNvPr id="0" name=""/>
        <dsp:cNvSpPr/>
      </dsp:nvSpPr>
      <dsp:spPr>
        <a:xfrm>
          <a:off x="2506030" y="2352206"/>
          <a:ext cx="149139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437BFD-D3F8-4D08-896B-59278537265A}">
      <dsp:nvSpPr>
        <dsp:cNvPr id="0" name=""/>
        <dsp:cNvSpPr/>
      </dsp:nvSpPr>
      <dsp:spPr>
        <a:xfrm>
          <a:off x="2506030" y="2352206"/>
          <a:ext cx="149139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45A38A-83B6-4935-A5AA-7F48A1C53ED7}">
      <dsp:nvSpPr>
        <dsp:cNvPr id="0" name=""/>
        <dsp:cNvSpPr/>
      </dsp:nvSpPr>
      <dsp:spPr>
        <a:xfrm>
          <a:off x="2903736" y="1646278"/>
          <a:ext cx="1310208" cy="208795"/>
        </a:xfrm>
        <a:custGeom>
          <a:avLst/>
          <a:gdLst/>
          <a:ahLst/>
          <a:cxnLst/>
          <a:rect l="0" t="0" r="0" b="0"/>
          <a:pathLst>
            <a:path>
              <a:moveTo>
                <a:pt x="953622" y="0"/>
              </a:moveTo>
              <a:lnTo>
                <a:pt x="953622" y="75984"/>
              </a:lnTo>
              <a:lnTo>
                <a:pt x="0" y="75984"/>
              </a:lnTo>
              <a:lnTo>
                <a:pt x="0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1E142B-50E2-4B81-AC93-448690D6B404}">
      <dsp:nvSpPr>
        <dsp:cNvPr id="0" name=""/>
        <dsp:cNvSpPr/>
      </dsp:nvSpPr>
      <dsp:spPr>
        <a:xfrm>
          <a:off x="1302969" y="2352206"/>
          <a:ext cx="149139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C3D8F0-B12B-423A-95F4-1524872C2C88}">
      <dsp:nvSpPr>
        <dsp:cNvPr id="0" name=""/>
        <dsp:cNvSpPr/>
      </dsp:nvSpPr>
      <dsp:spPr>
        <a:xfrm>
          <a:off x="1302969" y="2352206"/>
          <a:ext cx="149139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79FEA3-D074-4C4B-9814-4999FAADF258}">
      <dsp:nvSpPr>
        <dsp:cNvPr id="0" name=""/>
        <dsp:cNvSpPr/>
      </dsp:nvSpPr>
      <dsp:spPr>
        <a:xfrm>
          <a:off x="1700675" y="1646278"/>
          <a:ext cx="2513269" cy="208795"/>
        </a:xfrm>
        <a:custGeom>
          <a:avLst/>
          <a:gdLst/>
          <a:ahLst/>
          <a:cxnLst/>
          <a:rect l="0" t="0" r="0" b="0"/>
          <a:pathLst>
            <a:path>
              <a:moveTo>
                <a:pt x="1829259" y="0"/>
              </a:moveTo>
              <a:lnTo>
                <a:pt x="1829259" y="75984"/>
              </a:lnTo>
              <a:lnTo>
                <a:pt x="0" y="75984"/>
              </a:lnTo>
              <a:lnTo>
                <a:pt x="0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1EE9E3-B11A-4949-B3CA-C7D9CC494444}">
      <dsp:nvSpPr>
        <dsp:cNvPr id="0" name=""/>
        <dsp:cNvSpPr/>
      </dsp:nvSpPr>
      <dsp:spPr>
        <a:xfrm>
          <a:off x="99907" y="2352206"/>
          <a:ext cx="149139" cy="18692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493"/>
              </a:lnTo>
              <a:lnTo>
                <a:pt x="108549" y="1360493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2D83E0-26EF-443D-A0D2-DBD2D1EC7EEE}">
      <dsp:nvSpPr>
        <dsp:cNvPr id="0" name=""/>
        <dsp:cNvSpPr/>
      </dsp:nvSpPr>
      <dsp:spPr>
        <a:xfrm>
          <a:off x="99907" y="2352206"/>
          <a:ext cx="149139" cy="116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6689"/>
              </a:lnTo>
              <a:lnTo>
                <a:pt x="108549" y="846689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14807C-E488-45F4-B124-4BCB729E37AC}">
      <dsp:nvSpPr>
        <dsp:cNvPr id="0" name=""/>
        <dsp:cNvSpPr/>
      </dsp:nvSpPr>
      <dsp:spPr>
        <a:xfrm>
          <a:off x="99907" y="2352206"/>
          <a:ext cx="149139" cy="4573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886"/>
              </a:lnTo>
              <a:lnTo>
                <a:pt x="108549" y="332886"/>
              </a:lnTo>
            </a:path>
          </a:pathLst>
        </a:custGeom>
        <a:noFill/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A86BF9-A759-4E2D-9611-CE69C2E1A179}">
      <dsp:nvSpPr>
        <dsp:cNvPr id="0" name=""/>
        <dsp:cNvSpPr/>
      </dsp:nvSpPr>
      <dsp:spPr>
        <a:xfrm>
          <a:off x="497613" y="1646278"/>
          <a:ext cx="3716330" cy="208795"/>
        </a:xfrm>
        <a:custGeom>
          <a:avLst/>
          <a:gdLst/>
          <a:ahLst/>
          <a:cxnLst/>
          <a:rect l="0" t="0" r="0" b="0"/>
          <a:pathLst>
            <a:path>
              <a:moveTo>
                <a:pt x="2704895" y="0"/>
              </a:moveTo>
              <a:lnTo>
                <a:pt x="2704895" y="75984"/>
              </a:lnTo>
              <a:lnTo>
                <a:pt x="0" y="75984"/>
              </a:lnTo>
              <a:lnTo>
                <a:pt x="0" y="151969"/>
              </a:lnTo>
            </a:path>
          </a:pathLst>
        </a:custGeom>
        <a:noFill/>
        <a:ln w="25400" cap="flat" cmpd="sng" algn="ctr">
          <a:solidFill>
            <a:srgbClr val="1F497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E0F2E6-C891-487D-A0B0-1BCEF73C04D9}">
      <dsp:nvSpPr>
        <dsp:cNvPr id="0" name=""/>
        <dsp:cNvSpPr/>
      </dsp:nvSpPr>
      <dsp:spPr>
        <a:xfrm>
          <a:off x="3459685" y="570567"/>
          <a:ext cx="1508519" cy="1075710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b="1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PROJETO: Desenvolvimento de software</a:t>
          </a:r>
          <a:endParaRPr lang="pt-BR" sz="1100" kern="1200" dirty="0">
            <a:solidFill>
              <a:sysClr val="window" lastClr="FFFFFF"/>
            </a:solidFill>
            <a:latin typeface="Verdana" panose="020B0604030504040204" pitchFamily="34" charset="0"/>
            <a:ea typeface="Verdana" panose="020B0604030504040204" pitchFamily="34" charset="0"/>
            <a:cs typeface="+mn-cs"/>
          </a:endParaRPr>
        </a:p>
      </dsp:txBody>
      <dsp:txXfrm>
        <a:off x="3459685" y="570567"/>
        <a:ext cx="1508519" cy="1075710"/>
      </dsp:txXfrm>
    </dsp:sp>
    <dsp:sp modelId="{6348DEF2-B6AF-4816-9E50-A62242BD2DDB}">
      <dsp:nvSpPr>
        <dsp:cNvPr id="0" name=""/>
        <dsp:cNvSpPr/>
      </dsp:nvSpPr>
      <dsp:spPr>
        <a:xfrm>
          <a:off x="481" y="1855074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Iniciação</a:t>
          </a:r>
        </a:p>
      </dsp:txBody>
      <dsp:txXfrm>
        <a:off x="481" y="1855074"/>
        <a:ext cx="994265" cy="497132"/>
      </dsp:txXfrm>
    </dsp:sp>
    <dsp:sp modelId="{1AC64A07-E561-4874-9257-89DE6750951C}">
      <dsp:nvSpPr>
        <dsp:cNvPr id="0" name=""/>
        <dsp:cNvSpPr/>
      </dsp:nvSpPr>
      <dsp:spPr>
        <a:xfrm>
          <a:off x="249047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Designação de responsável</a:t>
          </a:r>
        </a:p>
      </dsp:txBody>
      <dsp:txXfrm>
        <a:off x="249047" y="2561002"/>
        <a:ext cx="994265" cy="497132"/>
      </dsp:txXfrm>
    </dsp:sp>
    <dsp:sp modelId="{BC05A892-D068-4E73-BF3C-3F3E039826E7}">
      <dsp:nvSpPr>
        <dsp:cNvPr id="0" name=""/>
        <dsp:cNvSpPr/>
      </dsp:nvSpPr>
      <dsp:spPr>
        <a:xfrm>
          <a:off x="249047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Preparo do Termo de Abertura</a:t>
          </a:r>
        </a:p>
      </dsp:txBody>
      <dsp:txXfrm>
        <a:off x="249047" y="3266931"/>
        <a:ext cx="994265" cy="497132"/>
      </dsp:txXfrm>
    </dsp:sp>
    <dsp:sp modelId="{59F7B814-D258-4C60-A457-FBCFE2C61E94}">
      <dsp:nvSpPr>
        <dsp:cNvPr id="0" name=""/>
        <dsp:cNvSpPr/>
      </dsp:nvSpPr>
      <dsp:spPr>
        <a:xfrm>
          <a:off x="249047" y="3972859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Identificação de Interessados</a:t>
          </a:r>
        </a:p>
      </dsp:txBody>
      <dsp:txXfrm>
        <a:off x="249047" y="3972859"/>
        <a:ext cx="994265" cy="497132"/>
      </dsp:txXfrm>
    </dsp:sp>
    <dsp:sp modelId="{56A05D0B-F7B1-4C2F-893B-E00EFB9F10C6}">
      <dsp:nvSpPr>
        <dsp:cNvPr id="0" name=""/>
        <dsp:cNvSpPr/>
      </dsp:nvSpPr>
      <dsp:spPr>
        <a:xfrm>
          <a:off x="1203542" y="1855074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Definição</a:t>
          </a:r>
        </a:p>
      </dsp:txBody>
      <dsp:txXfrm>
        <a:off x="1203542" y="1855074"/>
        <a:ext cx="994265" cy="497132"/>
      </dsp:txXfrm>
    </dsp:sp>
    <dsp:sp modelId="{A609C574-62A2-4CFC-8004-3CC32C7F538E}">
      <dsp:nvSpPr>
        <dsp:cNvPr id="0" name=""/>
        <dsp:cNvSpPr/>
      </dsp:nvSpPr>
      <dsp:spPr>
        <a:xfrm>
          <a:off x="1452108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Preparo de Requisitos do Sistema</a:t>
          </a:r>
        </a:p>
      </dsp:txBody>
      <dsp:txXfrm>
        <a:off x="1452108" y="2561002"/>
        <a:ext cx="994265" cy="497132"/>
      </dsp:txXfrm>
    </dsp:sp>
    <dsp:sp modelId="{0A0B88DA-36A7-407A-A47C-E169BF702BD8}">
      <dsp:nvSpPr>
        <dsp:cNvPr id="0" name=""/>
        <dsp:cNvSpPr/>
      </dsp:nvSpPr>
      <dsp:spPr>
        <a:xfrm>
          <a:off x="1452108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Gestão do Projeto</a:t>
          </a:r>
        </a:p>
      </dsp:txBody>
      <dsp:txXfrm>
        <a:off x="1452108" y="3266931"/>
        <a:ext cx="994265" cy="497132"/>
      </dsp:txXfrm>
    </dsp:sp>
    <dsp:sp modelId="{8BCC439C-4B2A-4AF8-99A4-51648F321FC7}">
      <dsp:nvSpPr>
        <dsp:cNvPr id="0" name=""/>
        <dsp:cNvSpPr/>
      </dsp:nvSpPr>
      <dsp:spPr>
        <a:xfrm>
          <a:off x="2406603" y="1855074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Design</a:t>
          </a:r>
        </a:p>
      </dsp:txBody>
      <dsp:txXfrm>
        <a:off x="2406603" y="1855074"/>
        <a:ext cx="994265" cy="497132"/>
      </dsp:txXfrm>
    </dsp:sp>
    <dsp:sp modelId="{FC460032-D689-459B-8474-0DD32576B01C}">
      <dsp:nvSpPr>
        <dsp:cNvPr id="0" name=""/>
        <dsp:cNvSpPr/>
      </dsp:nvSpPr>
      <dsp:spPr>
        <a:xfrm>
          <a:off x="2655170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Preparo de Especificação Técnica</a:t>
          </a:r>
        </a:p>
      </dsp:txBody>
      <dsp:txXfrm>
        <a:off x="2655170" y="2561002"/>
        <a:ext cx="994265" cy="497132"/>
      </dsp:txXfrm>
    </dsp:sp>
    <dsp:sp modelId="{76DF6B08-D5D1-4992-95E2-F0D81EA3F813}">
      <dsp:nvSpPr>
        <dsp:cNvPr id="0" name=""/>
        <dsp:cNvSpPr/>
      </dsp:nvSpPr>
      <dsp:spPr>
        <a:xfrm>
          <a:off x="2655170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Gestão do Projeto</a:t>
          </a:r>
        </a:p>
      </dsp:txBody>
      <dsp:txXfrm>
        <a:off x="2655170" y="3266931"/>
        <a:ext cx="994265" cy="497132"/>
      </dsp:txXfrm>
    </dsp:sp>
    <dsp:sp modelId="{1858FE6F-C78B-4223-A3E3-2DDC25316B80}">
      <dsp:nvSpPr>
        <dsp:cNvPr id="0" name=""/>
        <dsp:cNvSpPr/>
      </dsp:nvSpPr>
      <dsp:spPr>
        <a:xfrm>
          <a:off x="3609665" y="1855074"/>
          <a:ext cx="1208559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spc="-15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Desenvolvimento</a:t>
          </a:r>
        </a:p>
      </dsp:txBody>
      <dsp:txXfrm>
        <a:off x="3609665" y="1855074"/>
        <a:ext cx="1208559" cy="497132"/>
      </dsp:txXfrm>
    </dsp:sp>
    <dsp:sp modelId="{17F31B5D-C300-4621-B8B3-9A1859DB7A28}">
      <dsp:nvSpPr>
        <dsp:cNvPr id="0" name=""/>
        <dsp:cNvSpPr/>
      </dsp:nvSpPr>
      <dsp:spPr>
        <a:xfrm>
          <a:off x="3911804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Construção do sistema</a:t>
          </a:r>
        </a:p>
      </dsp:txBody>
      <dsp:txXfrm>
        <a:off x="3911804" y="2561002"/>
        <a:ext cx="994265" cy="497132"/>
      </dsp:txXfrm>
    </dsp:sp>
    <dsp:sp modelId="{5F1A8E89-CAEA-4CF6-8B6D-495DC52FE8C0}">
      <dsp:nvSpPr>
        <dsp:cNvPr id="0" name=""/>
        <dsp:cNvSpPr/>
      </dsp:nvSpPr>
      <dsp:spPr>
        <a:xfrm>
          <a:off x="3911804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Gestão do Projeto</a:t>
          </a:r>
        </a:p>
      </dsp:txBody>
      <dsp:txXfrm>
        <a:off x="3911804" y="3266931"/>
        <a:ext cx="994265" cy="497132"/>
      </dsp:txXfrm>
    </dsp:sp>
    <dsp:sp modelId="{E2997279-5AC9-4AE8-ABAE-BB36E66BCB77}">
      <dsp:nvSpPr>
        <dsp:cNvPr id="0" name=""/>
        <dsp:cNvSpPr/>
      </dsp:nvSpPr>
      <dsp:spPr>
        <a:xfrm>
          <a:off x="5027020" y="1855074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Teste e Verificação</a:t>
          </a:r>
        </a:p>
      </dsp:txBody>
      <dsp:txXfrm>
        <a:off x="5027020" y="1855074"/>
        <a:ext cx="994265" cy="497132"/>
      </dsp:txXfrm>
    </dsp:sp>
    <dsp:sp modelId="{1696E2A7-381C-44B6-B84C-951A6A22C0DB}">
      <dsp:nvSpPr>
        <dsp:cNvPr id="0" name=""/>
        <dsp:cNvSpPr/>
      </dsp:nvSpPr>
      <dsp:spPr>
        <a:xfrm>
          <a:off x="5275586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Realização de Testes isolados</a:t>
          </a:r>
        </a:p>
      </dsp:txBody>
      <dsp:txXfrm>
        <a:off x="5275586" y="2561002"/>
        <a:ext cx="994265" cy="497132"/>
      </dsp:txXfrm>
    </dsp:sp>
    <dsp:sp modelId="{AB4AD639-C0AD-4213-A847-C8A37F76A6BB}">
      <dsp:nvSpPr>
        <dsp:cNvPr id="0" name=""/>
        <dsp:cNvSpPr/>
      </dsp:nvSpPr>
      <dsp:spPr>
        <a:xfrm>
          <a:off x="5275586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Realização de Testes Integrados</a:t>
          </a:r>
        </a:p>
      </dsp:txBody>
      <dsp:txXfrm>
        <a:off x="5275586" y="3266931"/>
        <a:ext cx="994265" cy="497132"/>
      </dsp:txXfrm>
    </dsp:sp>
    <dsp:sp modelId="{05158794-07A8-424B-8B14-3F384166DEF9}">
      <dsp:nvSpPr>
        <dsp:cNvPr id="0" name=""/>
        <dsp:cNvSpPr/>
      </dsp:nvSpPr>
      <dsp:spPr>
        <a:xfrm>
          <a:off x="5275586" y="3972859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Gestão do Projeto</a:t>
          </a:r>
        </a:p>
      </dsp:txBody>
      <dsp:txXfrm>
        <a:off x="5275586" y="3972859"/>
        <a:ext cx="994265" cy="497132"/>
      </dsp:txXfrm>
    </dsp:sp>
    <dsp:sp modelId="{ABC94E04-8293-493D-8514-31CFFE0E6F45}">
      <dsp:nvSpPr>
        <dsp:cNvPr id="0" name=""/>
        <dsp:cNvSpPr/>
      </dsp:nvSpPr>
      <dsp:spPr>
        <a:xfrm>
          <a:off x="6230081" y="1855074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spc="-15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Implementação</a:t>
          </a:r>
        </a:p>
      </dsp:txBody>
      <dsp:txXfrm>
        <a:off x="6230081" y="1855074"/>
        <a:ext cx="994265" cy="497132"/>
      </dsp:txXfrm>
    </dsp:sp>
    <dsp:sp modelId="{D129407A-E674-4CCC-9D4D-39CCD5F992B7}">
      <dsp:nvSpPr>
        <dsp:cNvPr id="0" name=""/>
        <dsp:cNvSpPr/>
      </dsp:nvSpPr>
      <dsp:spPr>
        <a:xfrm>
          <a:off x="6478647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Preparo de </a:t>
          </a:r>
          <a:r>
            <a:rPr lang="pt-BR" sz="1100" kern="1200" spc="-15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documentação</a:t>
          </a:r>
        </a:p>
      </dsp:txBody>
      <dsp:txXfrm>
        <a:off x="6478647" y="2561002"/>
        <a:ext cx="994265" cy="497132"/>
      </dsp:txXfrm>
    </dsp:sp>
    <dsp:sp modelId="{9DE424CA-244B-4461-BB9A-C1C9B57E85CD}">
      <dsp:nvSpPr>
        <dsp:cNvPr id="0" name=""/>
        <dsp:cNvSpPr/>
      </dsp:nvSpPr>
      <dsp:spPr>
        <a:xfrm>
          <a:off x="6478647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Execução de Treinamento a usuários</a:t>
          </a:r>
        </a:p>
      </dsp:txBody>
      <dsp:txXfrm>
        <a:off x="6478647" y="3266931"/>
        <a:ext cx="994265" cy="497132"/>
      </dsp:txXfrm>
    </dsp:sp>
    <dsp:sp modelId="{A0600CA1-6837-467A-BBE4-7C325553B306}">
      <dsp:nvSpPr>
        <dsp:cNvPr id="0" name=""/>
        <dsp:cNvSpPr/>
      </dsp:nvSpPr>
      <dsp:spPr>
        <a:xfrm>
          <a:off x="6478647" y="3972859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Gestão do Projeto</a:t>
          </a:r>
        </a:p>
      </dsp:txBody>
      <dsp:txXfrm>
        <a:off x="6478647" y="3972859"/>
        <a:ext cx="994265" cy="497132"/>
      </dsp:txXfrm>
    </dsp:sp>
    <dsp:sp modelId="{6364127C-9824-4DC7-9C34-4082163B24A4}">
      <dsp:nvSpPr>
        <dsp:cNvPr id="0" name=""/>
        <dsp:cNvSpPr/>
      </dsp:nvSpPr>
      <dsp:spPr>
        <a:xfrm>
          <a:off x="7433142" y="1855074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spc="-15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Pós-Implementação</a:t>
          </a:r>
        </a:p>
      </dsp:txBody>
      <dsp:txXfrm>
        <a:off x="7433142" y="1855074"/>
        <a:ext cx="994265" cy="497132"/>
      </dsp:txXfrm>
    </dsp:sp>
    <dsp:sp modelId="{A6A0AFEF-CA0B-414F-A5D3-50E898202EF9}">
      <dsp:nvSpPr>
        <dsp:cNvPr id="0" name=""/>
        <dsp:cNvSpPr/>
      </dsp:nvSpPr>
      <dsp:spPr>
        <a:xfrm>
          <a:off x="7681709" y="2561002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Remoção dos antigos sistemas</a:t>
          </a:r>
        </a:p>
      </dsp:txBody>
      <dsp:txXfrm>
        <a:off x="7681709" y="2561002"/>
        <a:ext cx="994265" cy="497132"/>
      </dsp:txXfrm>
    </dsp:sp>
    <dsp:sp modelId="{3E05D4DB-58F3-4B21-9270-C394E5EBC039}">
      <dsp:nvSpPr>
        <dsp:cNvPr id="0" name=""/>
        <dsp:cNvSpPr/>
      </dsp:nvSpPr>
      <dsp:spPr>
        <a:xfrm>
          <a:off x="7681709" y="3266931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Apoio a usuários</a:t>
          </a:r>
        </a:p>
      </dsp:txBody>
      <dsp:txXfrm>
        <a:off x="7681709" y="3266931"/>
        <a:ext cx="994265" cy="497132"/>
      </dsp:txXfrm>
    </dsp:sp>
    <dsp:sp modelId="{1E5C411A-F8D1-4ED5-B181-745ACF12319B}">
      <dsp:nvSpPr>
        <dsp:cNvPr id="0" name=""/>
        <dsp:cNvSpPr/>
      </dsp:nvSpPr>
      <dsp:spPr>
        <a:xfrm>
          <a:off x="7681709" y="3972859"/>
          <a:ext cx="994265" cy="497132"/>
        </a:xfrm>
        <a:prstGeom prst="rect">
          <a:avLst/>
        </a:prstGeom>
        <a:gradFill rotWithShape="0">
          <a:gsLst>
            <a:gs pos="0">
              <a:srgbClr val="1F497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1F497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1F497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100" kern="1200" dirty="0">
              <a:solidFill>
                <a:sysClr val="window" lastClr="FFFFFF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rPr>
            <a:t>Gestão do Projeto</a:t>
          </a:r>
        </a:p>
      </dsp:txBody>
      <dsp:txXfrm>
        <a:off x="7681709" y="3972859"/>
        <a:ext cx="994265" cy="4971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</cdr:x>
      <cdr:y>0</cdr:y>
    </cdr:to>
    <cdr:sp macro="" textlink="">
      <cdr:nvSpPr>
        <cdr:cNvPr id="16" name="Conector reto 15"/>
        <cdr:cNvSpPr/>
      </cdr:nvSpPr>
      <cdr:spPr>
        <a:xfrm xmlns:a="http://schemas.openxmlformats.org/drawingml/2006/main">
          <a:off x="-467544" y="-1638299"/>
          <a:ext cx="0" cy="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pt-BR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5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5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86862F-F6FC-4BEC-90D8-53F77DCCDBED}" type="datetimeFigureOut">
              <a:rPr lang="de-DE" smtClean="0"/>
              <a:t>21.06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243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243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C819F3-4418-4542-A4BF-6109EF186C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48020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389626" eaLnBrk="1" hangingPunct="1">
              <a:lnSpc>
                <a:spcPct val="100000"/>
              </a:lnSpc>
              <a:buFontTx/>
              <a:buNone/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-108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52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389626" eaLnBrk="1" hangingPunct="1">
              <a:lnSpc>
                <a:spcPct val="100000"/>
              </a:lnSpc>
              <a:buFontTx/>
              <a:buNone/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-108" charset="-128"/>
                <a:cs typeface="+mn-cs"/>
              </a:defRPr>
            </a:lvl1pPr>
          </a:lstStyle>
          <a:p>
            <a:pPr>
              <a:defRPr/>
            </a:pPr>
            <a:fld id="{C95DD52A-E6E1-9040-8384-8890491C50F6}" type="datetimeFigureOut">
              <a:rPr lang="de-DE"/>
              <a:pPr>
                <a:defRPr/>
              </a:pPr>
              <a:t>21.06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8"/>
            <a:ext cx="543814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altLang="de-DE" noProof="0"/>
              <a:t>Textmasterformate durch Klicken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0" y="9428588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389626" eaLnBrk="1" hangingPunct="1">
              <a:lnSpc>
                <a:spcPct val="100000"/>
              </a:lnSpc>
              <a:buFontTx/>
              <a:buNone/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-108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52" y="9428588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defTabSz="389626" eaLnBrk="1" hangingPunct="1">
              <a:lnSpc>
                <a:spcPct val="100000"/>
              </a:lnSpc>
              <a:buFontTx/>
              <a:buNone/>
              <a:defRPr sz="1200"/>
            </a:lvl1pPr>
          </a:lstStyle>
          <a:p>
            <a:pPr>
              <a:defRPr/>
            </a:pPr>
            <a:fld id="{0DB40F95-4FEA-A842-ADE1-120167C76F0A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7637082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893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7875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33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33535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1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05246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047994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34630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2619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89287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79003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682519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8780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175220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08814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2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3681592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472169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3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4122293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3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8327726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3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174453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69698497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580804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3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673905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3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75777278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3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2031570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3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731990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4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1325401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845640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4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3176386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4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9394838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4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356269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2071921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4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868800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4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058902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5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8821194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5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5388973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5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8431333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5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9548984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5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1423403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1434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0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920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920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920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920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92075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92075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92075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92075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r" defTabSz="9207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87116D-36C3-400D-BDF4-C7B7917EA859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207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656938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389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DB40F95-4FEA-A842-ADE1-120167C76F0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pPr marL="0" marR="0" lvl="0" indent="0" algn="r" defTabSz="3896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138090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1434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0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920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920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920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920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92075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92075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92075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92075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r" defTabSz="9207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87116D-36C3-400D-BDF4-C7B7917EA859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207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83933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3517176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313977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6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4123864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6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03737410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6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00207992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6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4585034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6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989285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7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8523959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7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3322118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7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42402366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7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04865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40348547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197664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0703307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7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17751594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467943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7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93002497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7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8302086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389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DB40F95-4FEA-A842-ADE1-120167C76F0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pPr marL="0" marR="0" lvl="0" indent="0" algn="r" defTabSz="3896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0</a:t>
            </a:fld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855780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8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11316913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8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882865476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8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451028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8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96703717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8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53861003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8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6922072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8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1557436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8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0370277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8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503510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B40F95-4FEA-A842-ADE1-120167C76F0A}" type="slidenum">
              <a:rPr lang="de-DE" altLang="de-DE" smtClean="0"/>
              <a:pPr>
                <a:defRPr/>
              </a:pPr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05271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6144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508819" y="1269344"/>
            <a:ext cx="6384355" cy="166118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3000"/>
              </a:spcBef>
              <a:defRPr sz="3200"/>
            </a:lvl1pPr>
          </a:lstStyle>
          <a:p>
            <a:pPr lvl="0"/>
            <a:r>
              <a:rPr lang="de-DE" altLang="de-DE" noProof="0" dirty="0"/>
              <a:t>Titelmasterformat durch Klicken bearbeiten.</a:t>
            </a:r>
            <a:br>
              <a:rPr lang="de-DE" altLang="de-DE" noProof="0" dirty="0"/>
            </a:br>
            <a:endParaRPr lang="de-DE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5430705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8DDF5F92-E675-4B36-9A60-69A962A68675}" type="datetime1">
              <a:rPr lang="en-US" smtClean="0"/>
              <a:t>6/2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438621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936" y="342900"/>
            <a:ext cx="2948940" cy="120014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200" y="742950"/>
            <a:ext cx="4629150" cy="36576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936" y="1543049"/>
            <a:ext cx="2948940" cy="285750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F6E2C9B-5FA2-460D-9BE7-B0812FC2A6FF}" type="datetime1">
              <a:rPr lang="en-US" smtClean="0"/>
              <a:t>6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156788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936" y="342900"/>
            <a:ext cx="2948940" cy="12001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6200" y="742950"/>
            <a:ext cx="4629150" cy="3657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936" y="1543050"/>
            <a:ext cx="2948940" cy="2857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1D374940-A916-4C8B-9648-02A2D3898F9E}" type="datetime1">
              <a:rPr lang="en-US" smtClean="0"/>
              <a:t>6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4653856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845" y="274320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3845" y="1371600"/>
            <a:ext cx="7886700" cy="326350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5F4E5243-F52A-4D37-9694-EB26C6C31910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993773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0271"/>
            <a:ext cx="1971675" cy="4358879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0272"/>
            <a:ext cx="5800725" cy="435887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3A77B6E1-634A-48DC-9E8B-D894023267EF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774355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6144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508819" y="1269344"/>
            <a:ext cx="6384355" cy="166118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3000"/>
              </a:spcBef>
              <a:defRPr sz="3200"/>
            </a:lvl1pPr>
          </a:lstStyle>
          <a:p>
            <a:pPr lvl="0"/>
            <a:r>
              <a:rPr lang="de-DE" altLang="de-DE" noProof="0" dirty="0"/>
              <a:t>Titelmasterformat durch Klicken bearbeiten.</a:t>
            </a:r>
            <a:br>
              <a:rPr lang="de-DE" altLang="de-DE" noProof="0" dirty="0"/>
            </a:br>
            <a:endParaRPr lang="de-DE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36691154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97184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272565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ftr" sz="quarter" idx="18"/>
          </p:nvPr>
        </p:nvSpPr>
        <p:spPr>
          <a:xfrm>
            <a:off x="2530475" y="39688"/>
            <a:ext cx="4148138" cy="1873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 dirty="0"/>
              <a:t>KLBRAS Meeting</a:t>
            </a:r>
            <a:endParaRPr lang="de-DE" altLang="de-DE" dirty="0"/>
          </a:p>
        </p:txBody>
      </p:sp>
      <p:sp>
        <p:nvSpPr>
          <p:cNvPr id="8" name="Rectangle 29"/>
          <p:cNvSpPr>
            <a:spLocks noGrp="1" noChangeArrowheads="1"/>
          </p:cNvSpPr>
          <p:nvPr>
            <p:ph type="dt" sz="half" idx="19"/>
          </p:nvPr>
        </p:nvSpPr>
        <p:spPr>
          <a:xfrm>
            <a:off x="352425" y="39688"/>
            <a:ext cx="773113" cy="1873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9752D4-F7AD-4480-B9B8-21B179EB04C7}" type="datetime1">
              <a:rPr lang="de-DE" altLang="de-DE" smtClean="0"/>
              <a:t>21.06.2018</a:t>
            </a:fld>
            <a:endParaRPr lang="de-DE" altLang="de-DE"/>
          </a:p>
        </p:txBody>
      </p:sp>
      <p:sp>
        <p:nvSpPr>
          <p:cNvPr id="9" name="Rectangle 30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1335088" y="39688"/>
            <a:ext cx="555625" cy="1873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/ Slide </a:t>
            </a:r>
            <a:fld id="{769F06DD-4170-3A43-9EF4-5EF3F79706EF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23915807"/>
      </p:ext>
    </p:extLst>
  </p:cSld>
  <p:clrMapOvr>
    <a:masterClrMapping/>
  </p:clrMapOvr>
  <p:transition advClick="0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3398"/>
            <a:ext cx="6858000" cy="1790700"/>
          </a:xfrm>
        </p:spPr>
        <p:txBody>
          <a:bodyPr anchor="b">
            <a:normAutofit/>
          </a:bodyPr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 algn="ctr">
              <a:buNone/>
              <a:defRPr sz="21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24893-DBDA-4BFA-9CE1-4BFE7CD0F8CF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478220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D3E9E-A95C-48F2-B4BF-A71542E0BE9A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652577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38093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4317"/>
            <a:ext cx="7886700" cy="2138406"/>
          </a:xfrm>
        </p:spPr>
        <p:txBody>
          <a:bodyPr anchor="b">
            <a:normAutofit/>
          </a:bodyPr>
          <a:lstStyle>
            <a:lvl1pPr>
              <a:defRPr sz="45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14475"/>
            <a:ext cx="7886700" cy="1125140"/>
          </a:xfrm>
        </p:spPr>
        <p:txBody>
          <a:bodyPr anchor="t">
            <a:normAutofit/>
          </a:bodyPr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0F84E2-2D7A-43CF-AC90-352A289A783A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451949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3845" y="1371600"/>
            <a:ext cx="3886200" cy="3263503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71600"/>
            <a:ext cx="3886200" cy="3263503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952B5-7A2F-4CC8-B7CE-9234E21C2837}" type="datetime1">
              <a:rPr lang="en-US" smtClean="0"/>
              <a:t>6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389689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3845" y="1261388"/>
            <a:ext cx="3867150" cy="619274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45" y="1880663"/>
            <a:ext cx="3867150" cy="2760394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1388"/>
            <a:ext cx="3886201" cy="61927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80663"/>
            <a:ext cx="3886201" cy="2760394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07A-9201-4B4B-BAF2-015AFA30F520}" type="datetime1">
              <a:rPr lang="en-US" smtClean="0"/>
              <a:t>6/2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96079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7E00A-486F-4252-8B1D-E32645521F49}" type="datetime1">
              <a:rPr lang="en-US" smtClean="0"/>
              <a:t>6/2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957726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F5F92-E675-4B36-9A60-69A962A68675}" type="datetime1">
              <a:rPr lang="en-US" smtClean="0"/>
              <a:t>6/2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086072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936" y="342900"/>
            <a:ext cx="2948940" cy="1200148"/>
          </a:xfrm>
        </p:spPr>
        <p:txBody>
          <a:bodyPr anchor="b">
            <a:normAutofit/>
          </a:bodyPr>
          <a:lstStyle>
            <a:lvl1pPr>
              <a:defRPr sz="2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200" y="742950"/>
            <a:ext cx="4629150" cy="365760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936" y="1543049"/>
            <a:ext cx="2948940" cy="28575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E2C9B-5FA2-460D-9BE7-B0812FC2A6FF}" type="datetime1">
              <a:rPr lang="en-US" smtClean="0"/>
              <a:t>6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1165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936" y="342900"/>
            <a:ext cx="2948940" cy="1200150"/>
          </a:xfrm>
        </p:spPr>
        <p:txBody>
          <a:bodyPr anchor="b">
            <a:normAutofit/>
          </a:bodyPr>
          <a:lstStyle>
            <a:lvl1pPr>
              <a:defRPr sz="2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6200" y="742950"/>
            <a:ext cx="4629150" cy="36576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936" y="1543050"/>
            <a:ext cx="2948940" cy="28575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374940-A916-4C8B-9648-02A2D3898F9E}" type="datetime1">
              <a:rPr lang="en-US" smtClean="0"/>
              <a:t>6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851282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E5243-F52A-4D37-9694-EB26C6C31910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11549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0271"/>
            <a:ext cx="1971675" cy="435887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0272"/>
            <a:ext cx="5800725" cy="435887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7B6E1-634A-48DC-9E8B-D894023267EF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056157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6144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508819" y="1269344"/>
            <a:ext cx="6384355" cy="166118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3000"/>
              </a:spcBef>
              <a:defRPr sz="3200"/>
            </a:lvl1pPr>
          </a:lstStyle>
          <a:p>
            <a:pPr lvl="0"/>
            <a:r>
              <a:rPr lang="de-DE" altLang="de-DE" noProof="0" dirty="0"/>
              <a:t>Titelmasterformat durch Klicken bearbeiten.</a:t>
            </a:r>
            <a:br>
              <a:rPr lang="de-DE" altLang="de-DE" noProof="0" dirty="0"/>
            </a:br>
            <a:endParaRPr lang="de-DE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3920395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290233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541813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81799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05938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24"/>
          </a:xfrm>
          <a:prstGeom prst="rect">
            <a:avLst/>
          </a:prstGeom>
        </p:spPr>
      </p:pic>
      <p:sp>
        <p:nvSpPr>
          <p:cNvPr id="6144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519434" y="2643758"/>
            <a:ext cx="6308654" cy="1834107"/>
          </a:xfrm>
        </p:spPr>
        <p:txBody>
          <a:bodyPr/>
          <a:lstStyle>
            <a:lvl1pPr>
              <a:lnSpc>
                <a:spcPct val="100000"/>
              </a:lnSpc>
              <a:spcBef>
                <a:spcPts val="3000"/>
              </a:spcBef>
              <a:defRPr sz="3200"/>
            </a:lvl1pPr>
          </a:lstStyle>
          <a:p>
            <a:pPr lvl="0"/>
            <a:r>
              <a:rPr lang="de-DE" altLang="de-DE" noProof="0" dirty="0"/>
              <a:t>Titelmasterformat durch Klicken bearbeiten</a:t>
            </a:r>
            <a:br>
              <a:rPr lang="de-DE" altLang="de-DE" noProof="0" dirty="0"/>
            </a:br>
            <a:endParaRPr lang="de-DE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26677296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 userDrawn="1"/>
        </p:nvSpPr>
        <p:spPr bwMode="auto">
          <a:xfrm>
            <a:off x="6372225" y="1563688"/>
            <a:ext cx="6332538" cy="43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2"/>
                </a:solidFill>
                <a:latin typeface="Arial" charset="0"/>
              </a:defRPr>
            </a:lvl5pPr>
            <a:lvl6pPr marL="342900" algn="l" rtl="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2"/>
                </a:solidFill>
                <a:latin typeface="Arial" charset="0"/>
              </a:defRPr>
            </a:lvl6pPr>
            <a:lvl7pPr marL="685800" algn="l" rtl="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2"/>
                </a:solidFill>
                <a:latin typeface="Arial" charset="0"/>
              </a:defRPr>
            </a:lvl7pPr>
            <a:lvl8pPr marL="1028700" algn="l" rtl="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2"/>
                </a:solidFill>
                <a:latin typeface="Arial" charset="0"/>
              </a:defRPr>
            </a:lvl8pPr>
            <a:lvl9pPr marL="1371600" algn="l" rtl="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ts val="2200"/>
              </a:lnSpc>
              <a:defRPr/>
            </a:pPr>
            <a:endParaRPr lang="de-DE" altLang="de-DE" sz="2000" kern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339502"/>
            <a:ext cx="6330950" cy="441325"/>
          </a:xfrm>
        </p:spPr>
        <p:txBody>
          <a:bodyPr/>
          <a:lstStyle>
            <a:lvl1pPr>
              <a:lnSpc>
                <a:spcPct val="100000"/>
              </a:lnSpc>
              <a:defRPr sz="20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1" y="1203325"/>
            <a:ext cx="8468088" cy="3529013"/>
          </a:xfrm>
        </p:spPr>
        <p:txBody>
          <a:bodyPr tIns="0" rIns="0" bIns="0"/>
          <a:lstStyle>
            <a:lvl2pPr marL="269875" indent="-134938">
              <a:buFont typeface="Symbol" panose="05050102010706020507" pitchFamily="18" charset="2"/>
              <a:buChar char="-"/>
              <a:defRPr/>
            </a:lvl2pPr>
            <a:lvl3pPr marL="538163" indent="-133350">
              <a:buFont typeface="Symbol" panose="05050102010706020507" pitchFamily="18" charset="2"/>
              <a:buChar char="-"/>
              <a:defRPr/>
            </a:lvl3pPr>
            <a:lvl4pPr marL="808038" indent="-133350">
              <a:buFont typeface="Symbol" panose="05050102010706020507" pitchFamily="18" charset="2"/>
              <a:buChar char="-"/>
              <a:defRPr/>
            </a:lvl4pPr>
            <a:lvl5pPr marL="1077913" indent="-1349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 dirty="0"/>
              <a:t>KLBRAS Meeting</a:t>
            </a:r>
            <a:endParaRPr lang="de-DE" altLang="de-DE" dirty="0"/>
          </a:p>
        </p:txBody>
      </p:sp>
      <p:sp>
        <p:nvSpPr>
          <p:cNvPr id="6" name="Rectangle 29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0B8529-E6CF-4653-962F-61ED76097870}" type="datetime1">
              <a:rPr lang="de-DE" altLang="de-DE" smtClean="0"/>
              <a:t>21.06.2018</a:t>
            </a:fld>
            <a:endParaRPr lang="de-DE" altLang="de-DE"/>
          </a:p>
        </p:txBody>
      </p:sp>
      <p:sp>
        <p:nvSpPr>
          <p:cNvPr id="7" name="Rectangle 3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/ Slide </a:t>
            </a:r>
            <a:fld id="{6E5B58BE-19C4-3F4F-B830-08257C405AA1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670044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half" idx="1"/>
          </p:nvPr>
        </p:nvSpPr>
        <p:spPr>
          <a:xfrm>
            <a:off x="363601" y="1203326"/>
            <a:ext cx="8464488" cy="1873250"/>
          </a:xfrm>
        </p:spPr>
        <p:txBody>
          <a:bodyPr tIns="0" rIns="0" bIns="0"/>
          <a:lstStyle>
            <a:lvl1pPr>
              <a:defRPr sz="1200"/>
            </a:lvl1pPr>
            <a:lvl2pPr marL="269875" indent="-134938">
              <a:buFont typeface="Symbol" panose="05050102010706020507" pitchFamily="18" charset="2"/>
              <a:buChar char="-"/>
              <a:defRPr sz="1200"/>
            </a:lvl2pPr>
            <a:lvl3pPr marL="538163" indent="-133350">
              <a:buFont typeface="Symbol" panose="05050102010706020507" pitchFamily="18" charset="2"/>
              <a:buChar char="-"/>
              <a:defRPr sz="1200"/>
            </a:lvl3pPr>
            <a:lvl4pPr marL="808038" indent="-133350">
              <a:buFont typeface="Symbol" panose="05050102010706020507" pitchFamily="18" charset="2"/>
              <a:buChar char="-"/>
              <a:defRPr sz="1200"/>
            </a:lvl4pPr>
            <a:lvl5pPr marL="1077913" indent="-134938">
              <a:buFont typeface="Symbol" panose="05050102010706020507" pitchFamily="18" charset="2"/>
              <a:buChar char="-"/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3"/>
          </p:nvPr>
        </p:nvSpPr>
        <p:spPr>
          <a:xfrm>
            <a:off x="363601" y="3291830"/>
            <a:ext cx="8464488" cy="1438267"/>
          </a:xfrm>
        </p:spPr>
        <p:txBody>
          <a:bodyPr/>
          <a:lstStyle>
            <a:lvl1pPr>
              <a:defRPr sz="1200"/>
            </a:lvl1pPr>
            <a:lvl2pPr marL="269875" indent="-134938">
              <a:buFont typeface="Symbol" panose="05050102010706020507" pitchFamily="18" charset="2"/>
              <a:buChar char="-"/>
              <a:defRPr sz="1200"/>
            </a:lvl2pPr>
            <a:lvl3pPr marL="538163" indent="-133350">
              <a:buFont typeface="Symbol" panose="05050102010706020507" pitchFamily="18" charset="2"/>
              <a:buChar char="-"/>
              <a:defRPr sz="1200"/>
            </a:lvl3pPr>
            <a:lvl4pPr marL="808038" indent="-133350">
              <a:buFont typeface="Symbol" panose="05050102010706020507" pitchFamily="18" charset="2"/>
              <a:buChar char="-"/>
              <a:defRPr sz="1200"/>
            </a:lvl4pPr>
            <a:lvl5pPr marL="1077913" indent="-134938">
              <a:buFont typeface="Symbol" panose="05050102010706020507" pitchFamily="18" charset="2"/>
              <a:buChar char="-"/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60000" y="341211"/>
            <a:ext cx="6330950" cy="441325"/>
          </a:xfrm>
        </p:spPr>
        <p:txBody>
          <a:bodyPr/>
          <a:lstStyle>
            <a:lvl1pPr>
              <a:lnSpc>
                <a:spcPct val="100000"/>
              </a:lnSpc>
              <a:defRPr sz="20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 dirty="0"/>
              <a:t>KLBRAS Meeting</a:t>
            </a:r>
            <a:endParaRPr lang="de-DE" altLang="de-DE" dirty="0"/>
          </a:p>
        </p:txBody>
      </p:sp>
      <p:sp>
        <p:nvSpPr>
          <p:cNvPr id="6" name="Rectangle 29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8DB40D-DFE4-4F9C-8840-F68E748E33DD}" type="datetime1">
              <a:rPr lang="de-DE" altLang="de-DE" smtClean="0"/>
              <a:t>21.06.2018</a:t>
            </a:fld>
            <a:endParaRPr lang="de-DE" altLang="de-DE"/>
          </a:p>
        </p:txBody>
      </p:sp>
      <p:sp>
        <p:nvSpPr>
          <p:cNvPr id="7" name="Rectangle 30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/ Slide </a:t>
            </a:r>
            <a:fld id="{A5F4EB88-22C3-BC48-ADC2-CACBBFFE422B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589574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3600" y="339502"/>
            <a:ext cx="6331926" cy="440531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sz="half" idx="1"/>
          </p:nvPr>
        </p:nvSpPr>
        <p:spPr>
          <a:xfrm>
            <a:off x="363600" y="1203325"/>
            <a:ext cx="4157600" cy="2087075"/>
          </a:xfrm>
        </p:spPr>
        <p:txBody>
          <a:bodyPr tIns="46800" rIns="0" bIns="46800"/>
          <a:lstStyle>
            <a:lvl1pPr>
              <a:defRPr sz="1200"/>
            </a:lvl1pPr>
            <a:lvl2pPr marL="269875" indent="-134938">
              <a:buFont typeface="Symbol" panose="05050102010706020507" pitchFamily="18" charset="2"/>
              <a:buChar char="-"/>
              <a:defRPr sz="1200"/>
            </a:lvl2pPr>
            <a:lvl3pPr marL="538163" indent="-133350">
              <a:buFont typeface="Symbol" panose="05050102010706020507" pitchFamily="18" charset="2"/>
              <a:buChar char="-"/>
              <a:defRPr sz="1200"/>
            </a:lvl3pPr>
            <a:lvl4pPr marL="808038" indent="-133350">
              <a:buFont typeface="Symbol" panose="05050102010706020507" pitchFamily="18" charset="2"/>
              <a:buChar char="-"/>
              <a:defRPr sz="1200"/>
            </a:lvl4pPr>
            <a:lvl5pPr marL="1077913" indent="-134938">
              <a:buFont typeface="Symbol" panose="05050102010706020507" pitchFamily="18" charset="2"/>
              <a:buChar char="-"/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683600" y="1203325"/>
            <a:ext cx="4150800" cy="2087075"/>
          </a:xfrm>
        </p:spPr>
        <p:txBody>
          <a:bodyPr rIns="0"/>
          <a:lstStyle>
            <a:lvl1pPr>
              <a:defRPr sz="1200"/>
            </a:lvl1pPr>
            <a:lvl2pPr marL="269875" indent="-134938">
              <a:buFont typeface="Symbol" panose="05050102010706020507" pitchFamily="18" charset="2"/>
              <a:buChar char="-"/>
              <a:defRPr sz="1200"/>
            </a:lvl2pPr>
            <a:lvl3pPr marL="538163" indent="-133350">
              <a:buFont typeface="Symbol" panose="05050102010706020507" pitchFamily="18" charset="2"/>
              <a:buChar char="-"/>
              <a:defRPr sz="1200"/>
            </a:lvl3pPr>
            <a:lvl4pPr marL="808038" indent="-133350">
              <a:buFont typeface="Symbol" panose="05050102010706020507" pitchFamily="18" charset="2"/>
              <a:buChar char="-"/>
              <a:defRPr sz="1200"/>
            </a:lvl4pPr>
            <a:lvl5pPr marL="1077913" indent="-134938">
              <a:buFont typeface="Symbol" panose="05050102010706020507" pitchFamily="18" charset="2"/>
              <a:buChar char="-"/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3"/>
          </p:nvPr>
        </p:nvSpPr>
        <p:spPr>
          <a:xfrm>
            <a:off x="363600" y="3488400"/>
            <a:ext cx="4157600" cy="1460767"/>
          </a:xfrm>
        </p:spPr>
        <p:txBody>
          <a:bodyPr rIns="0"/>
          <a:lstStyle>
            <a:lvl1pPr>
              <a:defRPr sz="1200"/>
            </a:lvl1pPr>
            <a:lvl2pPr marL="269875" indent="-134938">
              <a:buFont typeface="Symbol" panose="05050102010706020507" pitchFamily="18" charset="2"/>
              <a:buChar char="-"/>
              <a:defRPr sz="1200"/>
            </a:lvl2pPr>
            <a:lvl3pPr marL="538163" indent="-133350">
              <a:buFont typeface="Symbol" panose="05050102010706020507" pitchFamily="18" charset="2"/>
              <a:buChar char="-"/>
              <a:defRPr sz="1200"/>
            </a:lvl3pPr>
            <a:lvl4pPr marL="808038" indent="-133350">
              <a:buFont typeface="Symbol" panose="05050102010706020507" pitchFamily="18" charset="2"/>
              <a:buChar char="-"/>
              <a:defRPr sz="1200"/>
            </a:lvl4pPr>
            <a:lvl5pPr marL="1077913" indent="-134938">
              <a:buFont typeface="Symbol" panose="05050102010706020507" pitchFamily="18" charset="2"/>
              <a:buChar char="-"/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4683600" y="3488400"/>
            <a:ext cx="4150800" cy="1241692"/>
          </a:xfrm>
        </p:spPr>
        <p:txBody>
          <a:bodyPr rIns="0"/>
          <a:lstStyle>
            <a:lvl1pPr>
              <a:defRPr sz="1200"/>
            </a:lvl1pPr>
            <a:lvl2pPr marL="269875" indent="-134938">
              <a:buFont typeface="Symbol" panose="05050102010706020507" pitchFamily="18" charset="2"/>
              <a:buChar char="-"/>
              <a:defRPr sz="1200"/>
            </a:lvl2pPr>
            <a:lvl3pPr marL="538163" indent="-133350">
              <a:buFont typeface="Symbol" panose="05050102010706020507" pitchFamily="18" charset="2"/>
              <a:buChar char="-"/>
              <a:defRPr sz="1200"/>
            </a:lvl3pPr>
            <a:lvl4pPr marL="808038" indent="-133350">
              <a:buFont typeface="Symbol" panose="05050102010706020507" pitchFamily="18" charset="2"/>
              <a:buChar char="-"/>
              <a:defRPr sz="1200"/>
            </a:lvl4pPr>
            <a:lvl5pPr marL="1077913" indent="-134938">
              <a:buFont typeface="Symbol" panose="05050102010706020507" pitchFamily="18" charset="2"/>
              <a:buChar char="-"/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 dirty="0"/>
              <a:t>KLBRAS Meeting</a:t>
            </a:r>
            <a:endParaRPr lang="de-DE" altLang="de-DE" dirty="0"/>
          </a:p>
        </p:txBody>
      </p:sp>
      <p:sp>
        <p:nvSpPr>
          <p:cNvPr id="12" name="Rectangle 29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06D3CD-5BEC-4334-96CF-5879387AE4F3}" type="datetime1">
              <a:rPr lang="de-DE" altLang="de-DE" smtClean="0"/>
              <a:t>21.06.2018</a:t>
            </a:fld>
            <a:endParaRPr lang="de-DE" altLang="de-DE"/>
          </a:p>
        </p:txBody>
      </p:sp>
      <p:sp>
        <p:nvSpPr>
          <p:cNvPr id="13" name="Rectangle 30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/ Slide </a:t>
            </a:r>
            <a:fld id="{A6B63C63-A9B6-1443-B9D5-A5E222CA5A1E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018071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3600" y="339502"/>
            <a:ext cx="6331926" cy="440531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>
          <a:xfrm>
            <a:off x="352425" y="1203325"/>
            <a:ext cx="4013200" cy="3744913"/>
          </a:xfrm>
        </p:spPr>
        <p:txBody>
          <a:bodyPr tIns="0" rIns="0" bIns="0"/>
          <a:lstStyle>
            <a:lvl1pPr>
              <a:defRPr sz="1200"/>
            </a:lvl1pPr>
            <a:lvl2pPr marL="269875" indent="-134938">
              <a:buFont typeface="Symbol" panose="05050102010706020507" pitchFamily="18" charset="2"/>
              <a:buChar char="-"/>
              <a:defRPr sz="1200"/>
            </a:lvl2pPr>
            <a:lvl3pPr marL="538163" indent="-133350">
              <a:buFont typeface="Symbol" panose="05050102010706020507" pitchFamily="18" charset="2"/>
              <a:buChar char="-"/>
              <a:defRPr sz="1200"/>
            </a:lvl3pPr>
            <a:lvl4pPr marL="808038" indent="-133350">
              <a:buFont typeface="Symbol" panose="05050102010706020507" pitchFamily="18" charset="2"/>
              <a:buChar char="-"/>
              <a:defRPr sz="1200"/>
            </a:lvl4pPr>
            <a:lvl5pPr marL="1077913" indent="-134938">
              <a:buFont typeface="Symbol" panose="05050102010706020507" pitchFamily="18" charset="2"/>
              <a:buChar char="-"/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>
          <a:xfrm>
            <a:off x="4521200" y="1203325"/>
            <a:ext cx="4313834" cy="3529013"/>
          </a:xfrm>
        </p:spPr>
        <p:txBody>
          <a:bodyPr tIns="0" rIns="0" bIns="0"/>
          <a:lstStyle>
            <a:lvl1pPr>
              <a:defRPr sz="1200"/>
            </a:lvl1pPr>
            <a:lvl2pPr marL="269875" indent="-134938">
              <a:buFont typeface="Symbol" panose="05050102010706020507" pitchFamily="18" charset="2"/>
              <a:buChar char="-"/>
              <a:defRPr sz="1200"/>
            </a:lvl2pPr>
            <a:lvl3pPr marL="538163" indent="-133350">
              <a:buFont typeface="Symbol" panose="05050102010706020507" pitchFamily="18" charset="2"/>
              <a:buChar char="-"/>
              <a:defRPr sz="1200"/>
            </a:lvl3pPr>
            <a:lvl4pPr marL="808038" indent="-133350">
              <a:buFont typeface="Symbol" panose="05050102010706020507" pitchFamily="18" charset="2"/>
              <a:buChar char="-"/>
              <a:defRPr sz="1200"/>
            </a:lvl4pPr>
            <a:lvl5pPr marL="1077913" indent="-134938">
              <a:buFont typeface="Symbol" panose="05050102010706020507" pitchFamily="18" charset="2"/>
              <a:buChar char="-"/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 dirty="0"/>
              <a:t>KLBRAS Meeting</a:t>
            </a:r>
            <a:endParaRPr lang="de-DE" altLang="de-DE" dirty="0"/>
          </a:p>
        </p:txBody>
      </p:sp>
      <p:sp>
        <p:nvSpPr>
          <p:cNvPr id="6" name="Rectangle 2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C91BE1-6E99-438A-9ED8-04A9F0140363}" type="datetime1">
              <a:rPr lang="de-DE" altLang="de-DE" smtClean="0"/>
              <a:t>21.06.2018</a:t>
            </a:fld>
            <a:endParaRPr lang="de-DE" altLang="de-DE" dirty="0"/>
          </a:p>
        </p:txBody>
      </p:sp>
      <p:sp>
        <p:nvSpPr>
          <p:cNvPr id="7" name="Rectangle 3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/ Slide </a:t>
            </a:r>
            <a:fld id="{7BDB78DD-20C4-BF45-B89A-13338C680E62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57738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 hasCustomPrompt="1"/>
          </p:nvPr>
        </p:nvSpPr>
        <p:spPr>
          <a:xfrm>
            <a:off x="2486025" y="1203326"/>
            <a:ext cx="2035175" cy="1733549"/>
          </a:xfrm>
        </p:spPr>
        <p:txBody>
          <a:bodyPr/>
          <a:lstStyle>
            <a:lvl2pPr marL="269875" indent="-134938">
              <a:buFont typeface="Symbol" panose="05050102010706020507" pitchFamily="18" charset="2"/>
              <a:buChar char="-"/>
              <a:defRPr/>
            </a:lvl2pPr>
            <a:lvl3pPr marL="538163" indent="-133350">
              <a:buFont typeface="Symbol" panose="05050102010706020507" pitchFamily="18" charset="2"/>
              <a:buChar char="-"/>
              <a:defRPr/>
            </a:lvl3pPr>
            <a:lvl4pPr marL="808038" indent="-133350">
              <a:buFont typeface="Symbol" panose="05050102010706020507" pitchFamily="18" charset="2"/>
              <a:buChar char="-"/>
              <a:defRPr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Inhaltsplatzhalter 13"/>
          <p:cNvSpPr>
            <a:spLocks noGrp="1"/>
          </p:cNvSpPr>
          <p:nvPr>
            <p:ph sz="quarter" idx="14" hasCustomPrompt="1"/>
          </p:nvPr>
        </p:nvSpPr>
        <p:spPr>
          <a:xfrm>
            <a:off x="361950" y="1203326"/>
            <a:ext cx="2019300" cy="1727200"/>
          </a:xfrm>
        </p:spPr>
        <p:txBody>
          <a:bodyPr/>
          <a:lstStyle>
            <a:lvl2pPr marL="269875" indent="-134938">
              <a:buFont typeface="Symbol" panose="05050102010706020507" pitchFamily="18" charset="2"/>
              <a:buChar char="-"/>
              <a:defRPr/>
            </a:lvl2pPr>
            <a:lvl3pPr marL="538163" indent="-133350">
              <a:buFont typeface="Symbol" panose="05050102010706020507" pitchFamily="18" charset="2"/>
              <a:buChar char="-"/>
              <a:defRPr/>
            </a:lvl3pPr>
            <a:lvl4pPr marL="808038" indent="-133350">
              <a:buFont typeface="Symbol" panose="05050102010706020507" pitchFamily="18" charset="2"/>
              <a:buChar char="-"/>
              <a:defRPr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7" name="Inhaltsplatzhalter 13"/>
          <p:cNvSpPr>
            <a:spLocks noGrp="1"/>
          </p:cNvSpPr>
          <p:nvPr>
            <p:ph sz="quarter" idx="15" hasCustomPrompt="1"/>
          </p:nvPr>
        </p:nvSpPr>
        <p:spPr>
          <a:xfrm>
            <a:off x="2486025" y="3072927"/>
            <a:ext cx="2035175" cy="1659409"/>
          </a:xfrm>
        </p:spPr>
        <p:txBody>
          <a:bodyPr/>
          <a:lstStyle>
            <a:lvl2pPr marL="269875" indent="-134938">
              <a:buFont typeface="Symbol" panose="05050102010706020507" pitchFamily="18" charset="2"/>
              <a:buChar char="-"/>
              <a:defRPr/>
            </a:lvl2pPr>
            <a:lvl3pPr marL="538163" indent="-133350">
              <a:buFont typeface="Symbol" panose="05050102010706020507" pitchFamily="18" charset="2"/>
              <a:buChar char="-"/>
              <a:defRPr/>
            </a:lvl3pPr>
            <a:lvl4pPr marL="808038" indent="-133350">
              <a:buFont typeface="Symbol" panose="05050102010706020507" pitchFamily="18" charset="2"/>
              <a:buChar char="-"/>
              <a:defRPr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13"/>
          <p:cNvSpPr>
            <a:spLocks noGrp="1"/>
          </p:cNvSpPr>
          <p:nvPr>
            <p:ph sz="quarter" idx="16" hasCustomPrompt="1"/>
          </p:nvPr>
        </p:nvSpPr>
        <p:spPr>
          <a:xfrm>
            <a:off x="363538" y="3076574"/>
            <a:ext cx="2017712" cy="1655763"/>
          </a:xfrm>
        </p:spPr>
        <p:txBody>
          <a:bodyPr/>
          <a:lstStyle>
            <a:lvl2pPr marL="269875" indent="-134938">
              <a:buFont typeface="Symbol" panose="05050102010706020507" pitchFamily="18" charset="2"/>
              <a:buChar char="-"/>
              <a:defRPr/>
            </a:lvl2pPr>
            <a:lvl3pPr marL="538163" indent="-133350">
              <a:buFont typeface="Symbol" panose="05050102010706020507" pitchFamily="18" charset="2"/>
              <a:buChar char="-"/>
              <a:defRPr/>
            </a:lvl3pPr>
            <a:lvl4pPr marL="808038" indent="-133350">
              <a:buFont typeface="Symbol" panose="05050102010706020507" pitchFamily="18" charset="2"/>
              <a:buChar char="-"/>
              <a:defRPr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9" name="Inhaltsplatzhalter 13"/>
          <p:cNvSpPr>
            <a:spLocks noGrp="1"/>
          </p:cNvSpPr>
          <p:nvPr>
            <p:ph sz="quarter" idx="17"/>
          </p:nvPr>
        </p:nvSpPr>
        <p:spPr>
          <a:xfrm>
            <a:off x="4610868" y="1203326"/>
            <a:ext cx="4217220" cy="3529010"/>
          </a:xfrm>
        </p:spPr>
        <p:txBody>
          <a:bodyPr lIns="0" tIns="0" rIns="0" bIns="0"/>
          <a:lstStyle>
            <a:lvl2pPr marL="269875" indent="-134938">
              <a:buFont typeface="Symbol" panose="05050102010706020507" pitchFamily="18" charset="2"/>
              <a:buChar char="-"/>
              <a:defRPr/>
            </a:lvl2pPr>
            <a:lvl3pPr marL="538163" indent="-133350">
              <a:buFont typeface="Symbol" panose="05050102010706020507" pitchFamily="18" charset="2"/>
              <a:buChar char="-"/>
              <a:defRPr/>
            </a:lvl3pPr>
            <a:lvl4pPr marL="808038" indent="-133350">
              <a:buFont typeface="Symbol" panose="05050102010706020507" pitchFamily="18" charset="2"/>
              <a:buChar char="-"/>
              <a:defRPr/>
            </a:lvl4pPr>
            <a:lvl5pPr marL="1077913" indent="-134938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360000" y="339502"/>
            <a:ext cx="6330950" cy="441325"/>
          </a:xfrm>
        </p:spPr>
        <p:txBody>
          <a:bodyPr/>
          <a:lstStyle>
            <a:lvl1pPr>
              <a:lnSpc>
                <a:spcPct val="100000"/>
              </a:lnSpc>
              <a:defRPr sz="20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 dirty="0"/>
              <a:t>KLBRAS Meeting</a:t>
            </a:r>
            <a:endParaRPr lang="de-DE" altLang="de-DE" dirty="0"/>
          </a:p>
        </p:txBody>
      </p:sp>
      <p:sp>
        <p:nvSpPr>
          <p:cNvPr id="9" name="Rectangle 29"/>
          <p:cNvSpPr>
            <a:spLocks noGrp="1" noChangeArrowheads="1"/>
          </p:cNvSpPr>
          <p:nvPr>
            <p:ph type="dt" sz="half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9752D4-F7AD-4480-B9B8-21B179EB04C7}" type="datetime1">
              <a:rPr lang="de-DE" altLang="de-DE" smtClean="0"/>
              <a:t>21.06.2018</a:t>
            </a:fld>
            <a:endParaRPr lang="de-DE" altLang="de-DE"/>
          </a:p>
        </p:txBody>
      </p:sp>
      <p:sp>
        <p:nvSpPr>
          <p:cNvPr id="10" name="Rectangle 30"/>
          <p:cNvSpPr>
            <a:spLocks noGrp="1" noChangeArrowheads="1"/>
          </p:cNvSpPr>
          <p:nvPr>
            <p:ph type="sldNum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/ Slide </a:t>
            </a:r>
            <a:fld id="{769F06DD-4170-3A43-9EF4-5EF3F79706EF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8662029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ftr" sz="quarter" idx="18"/>
          </p:nvPr>
        </p:nvSpPr>
        <p:spPr>
          <a:xfrm>
            <a:off x="2530475" y="39688"/>
            <a:ext cx="4148138" cy="1873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 dirty="0"/>
              <a:t>KLBRAS Meeting</a:t>
            </a:r>
            <a:endParaRPr lang="de-DE" altLang="de-DE" dirty="0"/>
          </a:p>
        </p:txBody>
      </p:sp>
      <p:sp>
        <p:nvSpPr>
          <p:cNvPr id="8" name="Rectangle 29"/>
          <p:cNvSpPr>
            <a:spLocks noGrp="1" noChangeArrowheads="1"/>
          </p:cNvSpPr>
          <p:nvPr>
            <p:ph type="dt" sz="half" idx="19"/>
          </p:nvPr>
        </p:nvSpPr>
        <p:spPr>
          <a:xfrm>
            <a:off x="352425" y="39688"/>
            <a:ext cx="773113" cy="1873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9752D4-F7AD-4480-B9B8-21B179EB04C7}" type="datetime1">
              <a:rPr lang="de-DE" altLang="de-DE" smtClean="0"/>
              <a:t>21.06.2018</a:t>
            </a:fld>
            <a:endParaRPr lang="de-DE" altLang="de-DE"/>
          </a:p>
        </p:txBody>
      </p:sp>
      <p:sp>
        <p:nvSpPr>
          <p:cNvPr id="9" name="Rectangle 30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1335088" y="39688"/>
            <a:ext cx="555625" cy="1873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/ Slide </a:t>
            </a:r>
            <a:fld id="{769F06DD-4170-3A43-9EF4-5EF3F79706EF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42395181"/>
      </p:ext>
    </p:extLst>
  </p:cSld>
  <p:clrMapOvr>
    <a:masterClrMapping/>
  </p:clrMapOvr>
  <p:transition advClick="0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3398"/>
            <a:ext cx="6858000" cy="17907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 algn="ctr">
              <a:buNone/>
              <a:defRPr sz="21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8224893-DBDA-4BFA-9CE1-4BFE7CD0F8CF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287440"/>
      </p:ext>
    </p:extLst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845" y="274320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845" y="1371600"/>
            <a:ext cx="7886700" cy="32635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7B2D3E9E-A95C-48F2-B4BF-A71542E0BE9A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38304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3398"/>
            <a:ext cx="6858000" cy="17907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 algn="ctr">
              <a:buNone/>
              <a:defRPr sz="21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8224893-DBDA-4BFA-9CE1-4BFE7CD0F8CF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717668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4317"/>
            <a:ext cx="7886700" cy="213840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5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14475"/>
            <a:ext cx="7886700" cy="112514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50F84E2-2D7A-43CF-AC90-352A289A783A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391095"/>
      </p:ext>
    </p:extLst>
  </p:cSld>
  <p:clrMapOvr>
    <a:masterClrMapping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845" y="274320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3845" y="1371600"/>
            <a:ext cx="3886200" cy="32635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71600"/>
            <a:ext cx="3886200" cy="32635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F12952B5-7A2F-4CC8-B7CE-9234E21C2837}" type="datetime1">
              <a:rPr lang="en-US" smtClean="0"/>
              <a:t>6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588482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3845" y="1261388"/>
            <a:ext cx="3867150" cy="61927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45" y="1880663"/>
            <a:ext cx="3867150" cy="27603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1388"/>
            <a:ext cx="3886201" cy="61927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80663"/>
            <a:ext cx="3886201" cy="27603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CE1DA07A-9201-4B4B-BAF2-015AFA30F520}" type="datetime1">
              <a:rPr lang="en-US" smtClean="0"/>
              <a:t>6/2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33845" y="274320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474362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73D7E00A-486F-4252-8B1D-E32645521F49}" type="datetime1">
              <a:rPr lang="en-US" smtClean="0"/>
              <a:t>6/2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3845" y="274320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85339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8DDF5F92-E675-4B36-9A60-69A962A68675}" type="datetime1">
              <a:rPr lang="en-US" smtClean="0"/>
              <a:t>6/2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431499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936" y="342900"/>
            <a:ext cx="2948940" cy="120014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200" y="742950"/>
            <a:ext cx="4629150" cy="36576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936" y="1543049"/>
            <a:ext cx="2948940" cy="285750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F6E2C9B-5FA2-460D-9BE7-B0812FC2A6FF}" type="datetime1">
              <a:rPr lang="en-US" smtClean="0"/>
              <a:t>6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210454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936" y="342900"/>
            <a:ext cx="2948940" cy="12001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6200" y="742950"/>
            <a:ext cx="4629150" cy="3657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936" y="1543050"/>
            <a:ext cx="2948940" cy="2857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1D374940-A916-4C8B-9648-02A2D3898F9E}" type="datetime1">
              <a:rPr lang="en-US" smtClean="0"/>
              <a:t>6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440674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845" y="274320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3845" y="1371600"/>
            <a:ext cx="7886700" cy="326350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5F4E5243-F52A-4D37-9694-EB26C6C31910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293426"/>
      </p:ext>
    </p:extLst>
  </p:cSld>
  <p:clrMapOvr>
    <a:masterClrMapping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0271"/>
            <a:ext cx="1971675" cy="4358879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0272"/>
            <a:ext cx="5800725" cy="435887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3A77B6E1-634A-48DC-9E8B-D894023267EF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485808"/>
      </p:ext>
    </p:extLst>
  </p:cSld>
  <p:clrMapOvr>
    <a:masterClrMapping/>
  </p:clrMapOvr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6144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508819" y="1269344"/>
            <a:ext cx="6384355" cy="166118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3000"/>
              </a:spcBef>
              <a:defRPr sz="3200"/>
            </a:lvl1pPr>
          </a:lstStyle>
          <a:p>
            <a:pPr lvl="0"/>
            <a:r>
              <a:rPr lang="de-DE" altLang="de-DE" noProof="0" dirty="0"/>
              <a:t>Titelmasterformat durch Klicken bearbeiten.</a:t>
            </a:r>
            <a:br>
              <a:rPr lang="de-DE" altLang="de-DE" noProof="0" dirty="0"/>
            </a:br>
            <a:endParaRPr lang="de-DE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2265552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845" y="274320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845" y="1371600"/>
            <a:ext cx="7886700" cy="32635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7B2D3E9E-A95C-48F2-B4BF-A71542E0BE9A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829049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95811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4317"/>
            <a:ext cx="7886700" cy="213840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5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14475"/>
            <a:ext cx="7886700" cy="112514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50F84E2-2D7A-43CF-AC90-352A289A783A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877608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845" y="274320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3845" y="1371600"/>
            <a:ext cx="3886200" cy="32635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71600"/>
            <a:ext cx="3886200" cy="32635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F12952B5-7A2F-4CC8-B7CE-9234E21C2837}" type="datetime1">
              <a:rPr lang="en-US" smtClean="0"/>
              <a:t>6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318075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3845" y="1261388"/>
            <a:ext cx="3867150" cy="61927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45" y="1880663"/>
            <a:ext cx="3867150" cy="27603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1388"/>
            <a:ext cx="3886201" cy="61927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80663"/>
            <a:ext cx="3886201" cy="27603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CE1DA07A-9201-4B4B-BAF2-015AFA30F520}" type="datetime1">
              <a:rPr lang="en-US" smtClean="0"/>
              <a:t>6/2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33845" y="274320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75978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73D7E00A-486F-4252-8B1D-E32645521F49}" type="datetime1">
              <a:rPr lang="en-US" smtClean="0"/>
              <a:t>6/2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3845" y="274320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127541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824" r:id="rId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lnSpc>
          <a:spcPts val="1500"/>
        </a:lnSpc>
        <a:spcBef>
          <a:spcPct val="0"/>
        </a:spcBef>
        <a:spcAft>
          <a:spcPct val="0"/>
        </a:spcAft>
        <a:buFont typeface="Times" charset="0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4938" algn="l" rtl="0" eaLnBrk="1" fontAlgn="base" hangingPunct="1">
        <a:spcBef>
          <a:spcPct val="20000"/>
        </a:spcBef>
        <a:spcAft>
          <a:spcPct val="0"/>
        </a:spcAft>
        <a:buFont typeface="Symbol" panose="05050102010706020507" pitchFamily="18" charset="2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33350" algn="l" rtl="0" eaLnBrk="1" fontAlgn="base" hangingPunct="1">
        <a:spcBef>
          <a:spcPct val="20000"/>
        </a:spcBef>
        <a:spcAft>
          <a:spcPct val="0"/>
        </a:spcAft>
        <a:buFont typeface="Symbol" panose="05050102010706020507" pitchFamily="18" charset="2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808038" indent="-133350" algn="l" rtl="0" eaLnBrk="1" fontAlgn="base" hangingPunct="1">
        <a:spcBef>
          <a:spcPct val="20000"/>
        </a:spcBef>
        <a:spcAft>
          <a:spcPct val="0"/>
        </a:spcAft>
        <a:buFont typeface="Symbol" panose="05050102010706020507" pitchFamily="18" charset="2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1077913" indent="-134938" algn="l" rtl="0" eaLnBrk="1" fontAlgn="base" hangingPunct="1">
        <a:spcBef>
          <a:spcPct val="20000"/>
        </a:spcBef>
        <a:spcAft>
          <a:spcPct val="0"/>
        </a:spcAft>
        <a:buFont typeface="Symbol" panose="05050102010706020507" pitchFamily="18" charset="2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1421606" indent="-135731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1764506" indent="-135731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2107406" indent="-135731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2450306" indent="-135731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DF62C491-7619-4DBE-958C-B162BED0B91C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BF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B4B3BCBA-C93F-4A78-98A4-DF32E34176A1}"/>
              </a:ext>
            </a:extLst>
          </p:cNvPr>
          <p:cNvSpPr/>
          <p:nvPr userDrawn="1"/>
        </p:nvSpPr>
        <p:spPr>
          <a:xfrm>
            <a:off x="114945" y="242094"/>
            <a:ext cx="221283" cy="45109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4439A057-1C00-4712-A54E-9E7D794410A3}"/>
              </a:ext>
            </a:extLst>
          </p:cNvPr>
          <p:cNvSpPr/>
          <p:nvPr userDrawn="1"/>
        </p:nvSpPr>
        <p:spPr>
          <a:xfrm>
            <a:off x="-16934" y="242094"/>
            <a:ext cx="103230" cy="45109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F09E4692-A4A5-48F6-A8EB-BAEC33C2D60C}"/>
              </a:ext>
            </a:extLst>
          </p:cNvPr>
          <p:cNvCxnSpPr/>
          <p:nvPr userDrawn="1"/>
        </p:nvCxnSpPr>
        <p:spPr>
          <a:xfrm>
            <a:off x="8420174" y="5039072"/>
            <a:ext cx="72257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95B6DEFE-4537-4EAB-AE48-A1955C46C1FD}"/>
              </a:ext>
            </a:extLst>
          </p:cNvPr>
          <p:cNvSpPr txBox="1"/>
          <p:nvPr userDrawn="1"/>
        </p:nvSpPr>
        <p:spPr>
          <a:xfrm>
            <a:off x="8196151" y="5000972"/>
            <a:ext cx="127874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00" i="1" dirty="0">
                <a:solidFill>
                  <a:schemeClr val="bg1">
                    <a:lumMod val="65000"/>
                  </a:schemeClr>
                </a:solidFill>
              </a:rPr>
              <a:t>Luiz F. F. Faccin</a:t>
            </a:r>
          </a:p>
        </p:txBody>
      </p:sp>
    </p:spTree>
    <p:extLst>
      <p:ext uri="{BB962C8B-B14F-4D97-AF65-F5344CB8AC3E}">
        <p14:creationId xmlns:p14="http://schemas.microsoft.com/office/powerpoint/2010/main" val="2847806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89" r:id="rId14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3845" y="274320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3845" y="1371600"/>
            <a:ext cx="7886700" cy="32635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586B75A-687E-405C-8A0B-8D00578BA2C3}" type="datetime1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63145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122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77825" y="1006475"/>
            <a:ext cx="8478838" cy="3725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6042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30475" y="39688"/>
            <a:ext cx="4148138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389626" eaLnBrk="1" hangingPunct="1">
              <a:lnSpc>
                <a:spcPts val="750"/>
              </a:lnSpc>
              <a:buFontTx/>
              <a:buNone/>
              <a:defRPr sz="600">
                <a:solidFill>
                  <a:schemeClr val="bg2"/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 altLang="de-DE"/>
              <a:t>Template: Please change the footer</a:t>
            </a:r>
            <a:endParaRPr lang="de-DE" altLang="de-DE"/>
          </a:p>
        </p:txBody>
      </p:sp>
      <p:sp>
        <p:nvSpPr>
          <p:cNvPr id="1029" name="Freeform 72"/>
          <p:cNvSpPr>
            <a:spLocks/>
          </p:cNvSpPr>
          <p:nvPr/>
        </p:nvSpPr>
        <p:spPr bwMode="auto">
          <a:xfrm>
            <a:off x="6985000" y="228600"/>
            <a:ext cx="2157413" cy="571500"/>
          </a:xfrm>
          <a:custGeom>
            <a:avLst/>
            <a:gdLst>
              <a:gd name="T0" fmla="*/ 2147483647 w 1472"/>
              <a:gd name="T1" fmla="*/ 2147483647 h 480"/>
              <a:gd name="T2" fmla="*/ 2147483647 w 1472"/>
              <a:gd name="T3" fmla="*/ 2147483647 h 480"/>
              <a:gd name="T4" fmla="*/ 2147483647 w 1472"/>
              <a:gd name="T5" fmla="*/ 0 h 480"/>
              <a:gd name="T6" fmla="*/ 2147483647 w 1472"/>
              <a:gd name="T7" fmla="*/ 0 h 480"/>
              <a:gd name="T8" fmla="*/ 0 w 1472"/>
              <a:gd name="T9" fmla="*/ 2147483647 h 480"/>
              <a:gd name="T10" fmla="*/ 2147483647 w 1472"/>
              <a:gd name="T11" fmla="*/ 2147483647 h 4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72"/>
              <a:gd name="T19" fmla="*/ 0 h 480"/>
              <a:gd name="T20" fmla="*/ 1472 w 1472"/>
              <a:gd name="T21" fmla="*/ 480 h 48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72" h="480">
                <a:moveTo>
                  <a:pt x="32" y="480"/>
                </a:moveTo>
                <a:lnTo>
                  <a:pt x="1472" y="480"/>
                </a:lnTo>
                <a:lnTo>
                  <a:pt x="1472" y="0"/>
                </a:lnTo>
                <a:lnTo>
                  <a:pt x="176" y="0"/>
                </a:lnTo>
                <a:lnTo>
                  <a:pt x="0" y="480"/>
                </a:lnTo>
                <a:lnTo>
                  <a:pt x="32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54000" tIns="27000" rIns="54000" bIns="54000" anchor="ctr"/>
          <a:lstStyle/>
          <a:p>
            <a:pPr algn="ctr" defTabSz="389626">
              <a:lnSpc>
                <a:spcPts val="1704"/>
              </a:lnSpc>
              <a:buFont typeface="Times" charset="0"/>
              <a:buNone/>
              <a:defRPr/>
            </a:pPr>
            <a:endParaRPr lang="de-DE" sz="1023"/>
          </a:p>
        </p:txBody>
      </p:sp>
      <p:sp>
        <p:nvSpPr>
          <p:cNvPr id="103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5763" y="293688"/>
            <a:ext cx="6330950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60445" name="Rectangle 2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52425" y="39688"/>
            <a:ext cx="773113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389626" eaLnBrk="1" hangingPunct="1">
              <a:lnSpc>
                <a:spcPts val="750"/>
              </a:lnSpc>
              <a:buFontTx/>
              <a:buNone/>
              <a:defRPr sz="600">
                <a:solidFill>
                  <a:schemeClr val="bg2"/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fld id="{3C990A45-64CC-4226-A54B-64BC5E5D1B95}" type="datetime1">
              <a:rPr lang="de-DE" altLang="de-DE" smtClean="0"/>
              <a:t>21.06.2018</a:t>
            </a:fld>
            <a:endParaRPr lang="de-DE" altLang="de-DE"/>
          </a:p>
        </p:txBody>
      </p:sp>
      <p:sp>
        <p:nvSpPr>
          <p:cNvPr id="60446" name="Rectangle 3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35088" y="39688"/>
            <a:ext cx="555625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389626" eaLnBrk="1" hangingPunct="1">
              <a:lnSpc>
                <a:spcPts val="750"/>
              </a:lnSpc>
              <a:buFontTx/>
              <a:buNone/>
              <a:defRPr sz="6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de-DE" altLang="de-DE"/>
              <a:t>/ Slide </a:t>
            </a:r>
            <a:fld id="{D8BE3BFC-1398-A242-8D70-6724AEA99CEA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pic>
        <p:nvPicPr>
          <p:cNvPr id="1032" name="Bild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082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5953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lnSpc>
          <a:spcPts val="1500"/>
        </a:lnSpc>
        <a:spcBef>
          <a:spcPct val="0"/>
        </a:spcBef>
        <a:spcAft>
          <a:spcPct val="0"/>
        </a:spcAft>
        <a:buFont typeface="Times" charset="0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4938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3335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808038" indent="-13335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1077913" indent="-134938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1421606" indent="-135731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1764506" indent="-135731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2107406" indent="-135731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2450306" indent="-135731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DF62C491-7619-4DBE-958C-B162BED0B91C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BF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B4B3BCBA-C93F-4A78-98A4-DF32E34176A1}"/>
              </a:ext>
            </a:extLst>
          </p:cNvPr>
          <p:cNvSpPr/>
          <p:nvPr userDrawn="1"/>
        </p:nvSpPr>
        <p:spPr>
          <a:xfrm>
            <a:off x="114945" y="242094"/>
            <a:ext cx="221283" cy="45109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4439A057-1C00-4712-A54E-9E7D794410A3}"/>
              </a:ext>
            </a:extLst>
          </p:cNvPr>
          <p:cNvSpPr/>
          <p:nvPr userDrawn="1"/>
        </p:nvSpPr>
        <p:spPr>
          <a:xfrm>
            <a:off x="-16934" y="242094"/>
            <a:ext cx="103230" cy="45109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F09E4692-A4A5-48F6-A8EB-BAEC33C2D60C}"/>
              </a:ext>
            </a:extLst>
          </p:cNvPr>
          <p:cNvCxnSpPr/>
          <p:nvPr userDrawn="1"/>
        </p:nvCxnSpPr>
        <p:spPr>
          <a:xfrm>
            <a:off x="8420174" y="5039072"/>
            <a:ext cx="72257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95B6DEFE-4537-4EAB-AE48-A1955C46C1FD}"/>
              </a:ext>
            </a:extLst>
          </p:cNvPr>
          <p:cNvSpPr txBox="1"/>
          <p:nvPr userDrawn="1"/>
        </p:nvSpPr>
        <p:spPr>
          <a:xfrm>
            <a:off x="8196151" y="5000972"/>
            <a:ext cx="127874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00" i="1" dirty="0">
                <a:solidFill>
                  <a:schemeClr val="bg1">
                    <a:lumMod val="65000"/>
                  </a:schemeClr>
                </a:solidFill>
              </a:rPr>
              <a:t>Luiz F. F. Faccin</a:t>
            </a:r>
          </a:p>
        </p:txBody>
      </p:sp>
    </p:spTree>
    <p:extLst>
      <p:ext uri="{BB962C8B-B14F-4D97-AF65-F5344CB8AC3E}">
        <p14:creationId xmlns:p14="http://schemas.microsoft.com/office/powerpoint/2010/main" val="2929116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V&#237;deo_problema_de_comunica&#231;&#227;o.mp4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3.sv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8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5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0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3.svg"/><Relationship Id="rId4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5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7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9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1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3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5.sv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A%20importa&#770;ncia%20do%20planejamento.mp4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3.svg"/><Relationship Id="rId4" Type="http://schemas.openxmlformats.org/officeDocument/2006/relationships/image" Target="../media/image11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0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3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0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30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30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30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30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30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30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30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30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50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38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6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6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hyperlink" Target="V&#237;deo_problema_de_comunica&#231;&#227;o.mp4" TargetMode="External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3.svg"/><Relationship Id="rId4" Type="http://schemas.openxmlformats.org/officeDocument/2006/relationships/image" Target="../media/image11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.sv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0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44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44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44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4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44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44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44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44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b="1" dirty="0"/>
              <a:t>Noções básicas em Gestão de Projetos</a:t>
            </a:r>
            <a:br>
              <a:rPr lang="de-DE" b="1" dirty="0"/>
            </a:br>
            <a:r>
              <a:rPr lang="de-DE" sz="2400" dirty="0"/>
              <a:t>Junho/14</a:t>
            </a:r>
            <a:r>
              <a:rPr lang="de-DE" sz="2800" dirty="0"/>
              <a:t/>
            </a:r>
            <a:br>
              <a:rPr lang="de-DE" sz="2800" dirty="0"/>
            </a:br>
            <a:r>
              <a:rPr lang="de-DE" sz="1600" dirty="0"/>
              <a:t> </a:t>
            </a:r>
            <a:r>
              <a:rPr lang="de-DE" sz="2800" dirty="0"/>
              <a:t/>
            </a:r>
            <a:br>
              <a:rPr lang="de-DE" sz="2800" dirty="0"/>
            </a:br>
            <a:r>
              <a:rPr lang="de-DE" sz="2400" dirty="0"/>
              <a:t>Luiz Faccin, PMO</a:t>
            </a:r>
          </a:p>
        </p:txBody>
      </p:sp>
    </p:spTree>
    <p:extLst>
      <p:ext uri="{BB962C8B-B14F-4D97-AF65-F5344CB8AC3E}">
        <p14:creationId xmlns:p14="http://schemas.microsoft.com/office/powerpoint/2010/main" val="18515034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9" name="Picture 7" descr="Resultado de imagem para problemas mais frequentes em projetos">
            <a:extLst>
              <a:ext uri="{FF2B5EF4-FFF2-40B4-BE49-F238E27FC236}">
                <a16:creationId xmlns:a16="http://schemas.microsoft.com/office/drawing/2014/main" id="{643971DD-7A1D-4420-8815-6903FF2F49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3" y="94456"/>
            <a:ext cx="6048375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s problemas mais frequentes em projetos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19F3FE06-8308-4774-8B47-B9A56209B177}"/>
              </a:ext>
            </a:extLst>
          </p:cNvPr>
          <p:cNvSpPr/>
          <p:nvPr/>
        </p:nvSpPr>
        <p:spPr>
          <a:xfrm>
            <a:off x="45732" y="1137438"/>
            <a:ext cx="2231951" cy="337916"/>
          </a:xfrm>
          <a:prstGeom prst="rect">
            <a:avLst/>
          </a:prstGeom>
          <a:solidFill>
            <a:srgbClr val="FBF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6CDD50F9-E124-4D4E-87EE-656826D4DF7F}"/>
              </a:ext>
            </a:extLst>
          </p:cNvPr>
          <p:cNvSpPr/>
          <p:nvPr/>
        </p:nvSpPr>
        <p:spPr>
          <a:xfrm>
            <a:off x="45732" y="1620790"/>
            <a:ext cx="2231951" cy="337916"/>
          </a:xfrm>
          <a:prstGeom prst="rect">
            <a:avLst/>
          </a:prstGeom>
          <a:solidFill>
            <a:srgbClr val="FBF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9A64CB8A-8AD7-41B9-B52D-EE03A5055B3B}"/>
              </a:ext>
            </a:extLst>
          </p:cNvPr>
          <p:cNvSpPr/>
          <p:nvPr/>
        </p:nvSpPr>
        <p:spPr>
          <a:xfrm>
            <a:off x="45732" y="2077645"/>
            <a:ext cx="2231951" cy="337916"/>
          </a:xfrm>
          <a:prstGeom prst="rect">
            <a:avLst/>
          </a:prstGeom>
          <a:solidFill>
            <a:srgbClr val="FBF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CC1F227A-3BC4-4CB9-8A94-718DB2B737A7}"/>
              </a:ext>
            </a:extLst>
          </p:cNvPr>
          <p:cNvSpPr/>
          <p:nvPr/>
        </p:nvSpPr>
        <p:spPr>
          <a:xfrm>
            <a:off x="45732" y="2562897"/>
            <a:ext cx="2231951" cy="337916"/>
          </a:xfrm>
          <a:prstGeom prst="rect">
            <a:avLst/>
          </a:prstGeom>
          <a:solidFill>
            <a:srgbClr val="FBF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80634ECB-2A37-4B99-839A-042559F5A1B0}"/>
              </a:ext>
            </a:extLst>
          </p:cNvPr>
          <p:cNvSpPr/>
          <p:nvPr/>
        </p:nvSpPr>
        <p:spPr>
          <a:xfrm>
            <a:off x="45732" y="3077514"/>
            <a:ext cx="2231951" cy="1836592"/>
          </a:xfrm>
          <a:prstGeom prst="rect">
            <a:avLst/>
          </a:prstGeom>
          <a:solidFill>
            <a:srgbClr val="FBF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26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780FDEFA-F052-47C3-A5A1-05BAD8DFF5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7072179"/>
              </p:ext>
            </p:extLst>
          </p:nvPr>
        </p:nvGraphicFramePr>
        <p:xfrm>
          <a:off x="1043608" y="1410215"/>
          <a:ext cx="6784225" cy="3681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57555"/>
            <a:ext cx="88309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pectos considerados no Planejamento de Projetos</a:t>
            </a:r>
          </a:p>
        </p:txBody>
      </p:sp>
      <p:sp>
        <p:nvSpPr>
          <p:cNvPr id="7" name="Rectangle 6"/>
          <p:cNvSpPr/>
          <p:nvPr/>
        </p:nvSpPr>
        <p:spPr>
          <a:xfrm>
            <a:off x="1650152" y="3970382"/>
            <a:ext cx="6208161" cy="360040"/>
          </a:xfrm>
          <a:prstGeom prst="rect">
            <a:avLst/>
          </a:prstGeom>
          <a:noFill/>
          <a:ln w="38100">
            <a:solidFill>
              <a:srgbClr val="FF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8826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13">
            <a:extLst>
              <a:ext uri="{FF2B5EF4-FFF2-40B4-BE49-F238E27FC236}">
                <a16:creationId xmlns:a16="http://schemas.microsoft.com/office/drawing/2014/main" id="{C75DE558-93E1-4D13-8BE2-52EEAAC943DC}"/>
              </a:ext>
            </a:extLst>
          </p:cNvPr>
          <p:cNvSpPr/>
          <p:nvPr/>
        </p:nvSpPr>
        <p:spPr>
          <a:xfrm>
            <a:off x="3203848" y="3219822"/>
            <a:ext cx="308770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i="1" dirty="0"/>
              <a:t>https://www.youtube.com/watch?v=6-9nWt04oSI</a:t>
            </a:r>
          </a:p>
        </p:txBody>
      </p:sp>
      <p:pic>
        <p:nvPicPr>
          <p:cNvPr id="3" name="Gráfico 2" descr="Disco">
            <a:hlinkClick r:id="rId3" action="ppaction://hlinkfile"/>
            <a:extLst>
              <a:ext uri="{FF2B5EF4-FFF2-40B4-BE49-F238E27FC236}">
                <a16:creationId xmlns:a16="http://schemas.microsoft.com/office/drawing/2014/main" id="{9A7D1D49-A4E1-40C7-9B1F-2ED10C24C1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419872" y="1236002"/>
            <a:ext cx="1969368" cy="1969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2808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cas para uma boa comunicação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66E2E19E-3C84-4BD3-A08D-D8E3826281DC}"/>
              </a:ext>
            </a:extLst>
          </p:cNvPr>
          <p:cNvSpPr txBox="1"/>
          <p:nvPr/>
        </p:nvSpPr>
        <p:spPr>
          <a:xfrm>
            <a:off x="0" y="1131590"/>
            <a:ext cx="8676456" cy="3735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Verdana" panose="020B0604030504040204" pitchFamily="34" charset="0"/>
                <a:ea typeface="Verdana" panose="020B0604030504040204" pitchFamily="34" charset="0"/>
              </a:rPr>
              <a:t>Atentar ao perfil de quem recebe a mensag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Verdana" panose="020B0604030504040204" pitchFamily="34" charset="0"/>
                <a:ea typeface="Verdana" panose="020B0604030504040204" pitchFamily="34" charset="0"/>
              </a:rPr>
              <a:t>Investir nas 3 esferas de comunicação (55% não verbal / 38% tom de voz / 7% verbal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Verdana" panose="020B0604030504040204" pitchFamily="34" charset="0"/>
                <a:ea typeface="Verdana" panose="020B0604030504040204" pitchFamily="34" charset="0"/>
              </a:rPr>
              <a:t>Saber ouvi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Verdana" panose="020B0604030504040204" pitchFamily="34" charset="0"/>
                <a:ea typeface="Verdana" panose="020B0604030504040204" pitchFamily="34" charset="0"/>
              </a:rPr>
              <a:t>Atenção ao mei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Verdana" panose="020B0604030504040204" pitchFamily="34" charset="0"/>
                <a:ea typeface="Verdana" panose="020B0604030504040204" pitchFamily="34" charset="0"/>
              </a:rPr>
              <a:t>Confirmação e feedback</a:t>
            </a:r>
          </a:p>
        </p:txBody>
      </p:sp>
    </p:spTree>
    <p:extLst>
      <p:ext uri="{BB962C8B-B14F-4D97-AF65-F5344CB8AC3E}">
        <p14:creationId xmlns:p14="http://schemas.microsoft.com/office/powerpoint/2010/main" val="25334688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ora de pensarmos em um projeto</a:t>
            </a:r>
          </a:p>
        </p:txBody>
      </p:sp>
      <p:pic>
        <p:nvPicPr>
          <p:cNvPr id="19458" name="Picture 2" descr="Resultado de imagem para thin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121793"/>
            <a:ext cx="6032561" cy="4021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827584" y="2400032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/>
              <a:t>3 minuto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0035465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ases da gestão de projeto</a:t>
            </a:r>
          </a:p>
        </p:txBody>
      </p:sp>
      <p:sp>
        <p:nvSpPr>
          <p:cNvPr id="3" name="Seta: Pentágono 2">
            <a:extLst>
              <a:ext uri="{FF2B5EF4-FFF2-40B4-BE49-F238E27FC236}">
                <a16:creationId xmlns:a16="http://schemas.microsoft.com/office/drawing/2014/main" id="{4E6AC1C4-8748-4C39-8EF7-921603E45E8D}"/>
              </a:ext>
            </a:extLst>
          </p:cNvPr>
          <p:cNvSpPr/>
          <p:nvPr/>
        </p:nvSpPr>
        <p:spPr>
          <a:xfrm>
            <a:off x="7232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Iniciação</a:t>
            </a:r>
          </a:p>
        </p:txBody>
      </p:sp>
      <p:sp>
        <p:nvSpPr>
          <p:cNvPr id="7" name="Seta: Pentágono 6">
            <a:extLst>
              <a:ext uri="{FF2B5EF4-FFF2-40B4-BE49-F238E27FC236}">
                <a16:creationId xmlns:a16="http://schemas.microsoft.com/office/drawing/2014/main" id="{3B370224-712D-4D03-BC2A-C576A2EC3FED}"/>
              </a:ext>
            </a:extLst>
          </p:cNvPr>
          <p:cNvSpPr/>
          <p:nvPr/>
        </p:nvSpPr>
        <p:spPr>
          <a:xfrm>
            <a:off x="189996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Planejamento</a:t>
            </a:r>
          </a:p>
        </p:txBody>
      </p:sp>
      <p:sp>
        <p:nvSpPr>
          <p:cNvPr id="9" name="Seta: Pentágono 8">
            <a:extLst>
              <a:ext uri="{FF2B5EF4-FFF2-40B4-BE49-F238E27FC236}">
                <a16:creationId xmlns:a16="http://schemas.microsoft.com/office/drawing/2014/main" id="{44C70F2F-1F97-490C-919E-5EF0A64EA28A}"/>
              </a:ext>
            </a:extLst>
          </p:cNvPr>
          <p:cNvSpPr/>
          <p:nvPr/>
        </p:nvSpPr>
        <p:spPr>
          <a:xfrm>
            <a:off x="372760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Execução</a:t>
            </a:r>
          </a:p>
        </p:txBody>
      </p:sp>
      <p:sp>
        <p:nvSpPr>
          <p:cNvPr id="10" name="Seta: Pentágono 9">
            <a:extLst>
              <a:ext uri="{FF2B5EF4-FFF2-40B4-BE49-F238E27FC236}">
                <a16:creationId xmlns:a16="http://schemas.microsoft.com/office/drawing/2014/main" id="{3C767181-78B6-48D0-8DC3-B7F3A1616E4F}"/>
              </a:ext>
            </a:extLst>
          </p:cNvPr>
          <p:cNvSpPr/>
          <p:nvPr/>
        </p:nvSpPr>
        <p:spPr>
          <a:xfrm>
            <a:off x="555524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Monitoramento e controle</a:t>
            </a:r>
          </a:p>
        </p:txBody>
      </p:sp>
      <p:sp>
        <p:nvSpPr>
          <p:cNvPr id="11" name="Seta: Pentágono 10">
            <a:extLst>
              <a:ext uri="{FF2B5EF4-FFF2-40B4-BE49-F238E27FC236}">
                <a16:creationId xmlns:a16="http://schemas.microsoft.com/office/drawing/2014/main" id="{73B87327-0C1F-4A32-BD58-342C22D4337E}"/>
              </a:ext>
            </a:extLst>
          </p:cNvPr>
          <p:cNvSpPr/>
          <p:nvPr/>
        </p:nvSpPr>
        <p:spPr>
          <a:xfrm>
            <a:off x="738288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Encerramento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5E35CFF4-BF72-4966-B692-0AEB7C8B4856}"/>
              </a:ext>
            </a:extLst>
          </p:cNvPr>
          <p:cNvSpPr/>
          <p:nvPr/>
        </p:nvSpPr>
        <p:spPr>
          <a:xfrm>
            <a:off x="72328" y="2283718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AP / Project Charter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9924661E-2864-4562-87DA-22A4C5D3BC85}"/>
              </a:ext>
            </a:extLst>
          </p:cNvPr>
          <p:cNvSpPr/>
          <p:nvPr/>
        </p:nvSpPr>
        <p:spPr>
          <a:xfrm>
            <a:off x="1899967" y="2417795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o de risc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o de comunicação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ickoff</a:t>
            </a: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meeting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36EB86FF-0DFC-4CDD-989F-D0CDF28E9BB7}"/>
              </a:ext>
            </a:extLst>
          </p:cNvPr>
          <p:cNvSpPr/>
          <p:nvPr/>
        </p:nvSpPr>
        <p:spPr>
          <a:xfrm>
            <a:off x="3727606" y="2283718"/>
            <a:ext cx="3491027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terações de escop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teração de 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cas de acompanhamento</a:t>
            </a:r>
          </a:p>
        </p:txBody>
      </p: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D372310A-0021-4076-8894-3BAFB021FC77}"/>
              </a:ext>
            </a:extLst>
          </p:cNvPr>
          <p:cNvSpPr/>
          <p:nvPr/>
        </p:nvSpPr>
        <p:spPr>
          <a:xfrm>
            <a:off x="7382884" y="2283718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ultados obtid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ções aprendi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união de fech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lebration</a:t>
            </a: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BFF8AC44-1E67-4DC3-A26A-91ED5E799FCC}"/>
              </a:ext>
            </a:extLst>
          </p:cNvPr>
          <p:cNvSpPr/>
          <p:nvPr/>
        </p:nvSpPr>
        <p:spPr>
          <a:xfrm>
            <a:off x="119148" y="1075780"/>
            <a:ext cx="387795" cy="38779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FABA0406-66C2-4427-A000-CDD838F17162}"/>
              </a:ext>
            </a:extLst>
          </p:cNvPr>
          <p:cNvSpPr/>
          <p:nvPr/>
        </p:nvSpPr>
        <p:spPr>
          <a:xfrm>
            <a:off x="1942096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8411B5C1-908D-4A96-9569-A23EB0C51FD4}"/>
              </a:ext>
            </a:extLst>
          </p:cNvPr>
          <p:cNvSpPr/>
          <p:nvPr/>
        </p:nvSpPr>
        <p:spPr>
          <a:xfrm>
            <a:off x="3789458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CABC980C-A1F3-46B4-BEEE-0FD343EAD2CF}"/>
              </a:ext>
            </a:extLst>
          </p:cNvPr>
          <p:cNvSpPr/>
          <p:nvPr/>
        </p:nvSpPr>
        <p:spPr>
          <a:xfrm>
            <a:off x="5586173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3D2A14C4-8B38-496F-A164-94AD07693C1E}"/>
              </a:ext>
            </a:extLst>
          </p:cNvPr>
          <p:cNvSpPr/>
          <p:nvPr/>
        </p:nvSpPr>
        <p:spPr>
          <a:xfrm>
            <a:off x="7413813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5</a:t>
            </a:r>
          </a:p>
        </p:txBody>
      </p:sp>
      <p:sp>
        <p:nvSpPr>
          <p:cNvPr id="2" name="Left Brace 1"/>
          <p:cNvSpPr/>
          <p:nvPr/>
        </p:nvSpPr>
        <p:spPr>
          <a:xfrm rot="5400000">
            <a:off x="1691917" y="-277854"/>
            <a:ext cx="121940" cy="2613890"/>
          </a:xfrm>
          <a:prstGeom prst="leftBrace">
            <a:avLst>
              <a:gd name="adj1" fmla="val 16500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368005" y="683737"/>
            <a:ext cx="769763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copo</a:t>
            </a:r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54D4057B-93B3-4403-A6FF-C042312F5005}"/>
              </a:ext>
            </a:extLst>
          </p:cNvPr>
          <p:cNvSpPr/>
          <p:nvPr/>
        </p:nvSpPr>
        <p:spPr>
          <a:xfrm>
            <a:off x="72328" y="2283718"/>
            <a:ext cx="3491027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4269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ases da gestão de projeto</a:t>
            </a:r>
          </a:p>
        </p:txBody>
      </p:sp>
      <p:sp>
        <p:nvSpPr>
          <p:cNvPr id="3" name="Seta: Pentágono 2">
            <a:extLst>
              <a:ext uri="{FF2B5EF4-FFF2-40B4-BE49-F238E27FC236}">
                <a16:creationId xmlns:a16="http://schemas.microsoft.com/office/drawing/2014/main" id="{4E6AC1C4-8748-4C39-8EF7-921603E45E8D}"/>
              </a:ext>
            </a:extLst>
          </p:cNvPr>
          <p:cNvSpPr/>
          <p:nvPr/>
        </p:nvSpPr>
        <p:spPr>
          <a:xfrm>
            <a:off x="7232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Iniciação</a:t>
            </a:r>
          </a:p>
        </p:txBody>
      </p:sp>
      <p:sp>
        <p:nvSpPr>
          <p:cNvPr id="7" name="Seta: Pentágono 6">
            <a:extLst>
              <a:ext uri="{FF2B5EF4-FFF2-40B4-BE49-F238E27FC236}">
                <a16:creationId xmlns:a16="http://schemas.microsoft.com/office/drawing/2014/main" id="{3B370224-712D-4D03-BC2A-C576A2EC3FED}"/>
              </a:ext>
            </a:extLst>
          </p:cNvPr>
          <p:cNvSpPr/>
          <p:nvPr/>
        </p:nvSpPr>
        <p:spPr>
          <a:xfrm>
            <a:off x="189996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Planejamento</a:t>
            </a:r>
          </a:p>
        </p:txBody>
      </p:sp>
      <p:sp>
        <p:nvSpPr>
          <p:cNvPr id="9" name="Seta: Pentágono 8">
            <a:extLst>
              <a:ext uri="{FF2B5EF4-FFF2-40B4-BE49-F238E27FC236}">
                <a16:creationId xmlns:a16="http://schemas.microsoft.com/office/drawing/2014/main" id="{44C70F2F-1F97-490C-919E-5EF0A64EA28A}"/>
              </a:ext>
            </a:extLst>
          </p:cNvPr>
          <p:cNvSpPr/>
          <p:nvPr/>
        </p:nvSpPr>
        <p:spPr>
          <a:xfrm>
            <a:off x="372760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Execução</a:t>
            </a:r>
          </a:p>
        </p:txBody>
      </p:sp>
      <p:sp>
        <p:nvSpPr>
          <p:cNvPr id="10" name="Seta: Pentágono 9">
            <a:extLst>
              <a:ext uri="{FF2B5EF4-FFF2-40B4-BE49-F238E27FC236}">
                <a16:creationId xmlns:a16="http://schemas.microsoft.com/office/drawing/2014/main" id="{3C767181-78B6-48D0-8DC3-B7F3A1616E4F}"/>
              </a:ext>
            </a:extLst>
          </p:cNvPr>
          <p:cNvSpPr/>
          <p:nvPr/>
        </p:nvSpPr>
        <p:spPr>
          <a:xfrm>
            <a:off x="555524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Monitoramento e controle</a:t>
            </a:r>
          </a:p>
        </p:txBody>
      </p:sp>
      <p:sp>
        <p:nvSpPr>
          <p:cNvPr id="11" name="Seta: Pentágono 10">
            <a:extLst>
              <a:ext uri="{FF2B5EF4-FFF2-40B4-BE49-F238E27FC236}">
                <a16:creationId xmlns:a16="http://schemas.microsoft.com/office/drawing/2014/main" id="{73B87327-0C1F-4A32-BD58-342C22D4337E}"/>
              </a:ext>
            </a:extLst>
          </p:cNvPr>
          <p:cNvSpPr/>
          <p:nvPr/>
        </p:nvSpPr>
        <p:spPr>
          <a:xfrm>
            <a:off x="738288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Encerramento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5E35CFF4-BF72-4966-B692-0AEB7C8B4856}"/>
              </a:ext>
            </a:extLst>
          </p:cNvPr>
          <p:cNvSpPr/>
          <p:nvPr/>
        </p:nvSpPr>
        <p:spPr>
          <a:xfrm>
            <a:off x="72328" y="2283718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AP / Project Charter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9924661E-2864-4562-87DA-22A4C5D3BC85}"/>
              </a:ext>
            </a:extLst>
          </p:cNvPr>
          <p:cNvSpPr/>
          <p:nvPr/>
        </p:nvSpPr>
        <p:spPr>
          <a:xfrm>
            <a:off x="1899967" y="2417795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o de risc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o de comunicação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ickoff</a:t>
            </a: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meeting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36EB86FF-0DFC-4CDD-989F-D0CDF28E9BB7}"/>
              </a:ext>
            </a:extLst>
          </p:cNvPr>
          <p:cNvSpPr/>
          <p:nvPr/>
        </p:nvSpPr>
        <p:spPr>
          <a:xfrm>
            <a:off x="3727606" y="2283718"/>
            <a:ext cx="3491027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terações de escop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teração de 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cas de acompanhamento</a:t>
            </a:r>
          </a:p>
        </p:txBody>
      </p: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D372310A-0021-4076-8894-3BAFB021FC77}"/>
              </a:ext>
            </a:extLst>
          </p:cNvPr>
          <p:cNvSpPr/>
          <p:nvPr/>
        </p:nvSpPr>
        <p:spPr>
          <a:xfrm>
            <a:off x="7382884" y="2283718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ultados obtid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ções aprendi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união de fech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lebration</a:t>
            </a: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BFF8AC44-1E67-4DC3-A26A-91ED5E799FCC}"/>
              </a:ext>
            </a:extLst>
          </p:cNvPr>
          <p:cNvSpPr/>
          <p:nvPr/>
        </p:nvSpPr>
        <p:spPr>
          <a:xfrm>
            <a:off x="119148" y="1075780"/>
            <a:ext cx="387795" cy="38779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FABA0406-66C2-4427-A000-CDD838F17162}"/>
              </a:ext>
            </a:extLst>
          </p:cNvPr>
          <p:cNvSpPr/>
          <p:nvPr/>
        </p:nvSpPr>
        <p:spPr>
          <a:xfrm>
            <a:off x="1942096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8411B5C1-908D-4A96-9569-A23EB0C51FD4}"/>
              </a:ext>
            </a:extLst>
          </p:cNvPr>
          <p:cNvSpPr/>
          <p:nvPr/>
        </p:nvSpPr>
        <p:spPr>
          <a:xfrm>
            <a:off x="3789458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CABC980C-A1F3-46B4-BEEE-0FD343EAD2CF}"/>
              </a:ext>
            </a:extLst>
          </p:cNvPr>
          <p:cNvSpPr/>
          <p:nvPr/>
        </p:nvSpPr>
        <p:spPr>
          <a:xfrm>
            <a:off x="5586173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3D2A14C4-8B38-496F-A164-94AD07693C1E}"/>
              </a:ext>
            </a:extLst>
          </p:cNvPr>
          <p:cNvSpPr/>
          <p:nvPr/>
        </p:nvSpPr>
        <p:spPr>
          <a:xfrm>
            <a:off x="7413813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5</a:t>
            </a:r>
          </a:p>
        </p:txBody>
      </p:sp>
      <p:sp>
        <p:nvSpPr>
          <p:cNvPr id="2" name="Left Brace 1"/>
          <p:cNvSpPr/>
          <p:nvPr/>
        </p:nvSpPr>
        <p:spPr>
          <a:xfrm rot="5400000">
            <a:off x="1691917" y="-277854"/>
            <a:ext cx="121940" cy="2613890"/>
          </a:xfrm>
          <a:prstGeom prst="leftBrace">
            <a:avLst>
              <a:gd name="adj1" fmla="val 16500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368005" y="683737"/>
            <a:ext cx="769763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copo</a:t>
            </a:r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54D4057B-93B3-4403-A6FF-C042312F5005}"/>
              </a:ext>
            </a:extLst>
          </p:cNvPr>
          <p:cNvSpPr/>
          <p:nvPr/>
        </p:nvSpPr>
        <p:spPr>
          <a:xfrm>
            <a:off x="72328" y="2283718"/>
            <a:ext cx="3491027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9D89A601-9AE5-44BC-AC65-46CAB8949ED8}"/>
              </a:ext>
            </a:extLst>
          </p:cNvPr>
          <p:cNvSpPr/>
          <p:nvPr/>
        </p:nvSpPr>
        <p:spPr>
          <a:xfrm>
            <a:off x="1805327" y="1050380"/>
            <a:ext cx="7338673" cy="3944242"/>
          </a:xfrm>
          <a:prstGeom prst="rect">
            <a:avLst/>
          </a:prstGeom>
          <a:solidFill>
            <a:srgbClr val="FBFBFB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07061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AP / Project Charter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7B9F567-4AC8-414E-90EA-4E30B433199B}"/>
              </a:ext>
            </a:extLst>
          </p:cNvPr>
          <p:cNvSpPr txBox="1"/>
          <p:nvPr/>
        </p:nvSpPr>
        <p:spPr>
          <a:xfrm>
            <a:off x="178191" y="1329561"/>
            <a:ext cx="69847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TAP = Termo de abertura do projeto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4819AD16-2340-41BF-901A-24B3B65CB705}"/>
              </a:ext>
            </a:extLst>
          </p:cNvPr>
          <p:cNvSpPr/>
          <p:nvPr/>
        </p:nvSpPr>
        <p:spPr>
          <a:xfrm>
            <a:off x="313046" y="2859782"/>
            <a:ext cx="8291402" cy="115467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ste </a:t>
            </a:r>
            <a:r>
              <a:rPr lang="pt-BR" sz="1600" dirty="0">
                <a:highlight>
                  <a:srgbClr val="FFC021"/>
                </a:highlight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ocumento</a:t>
            </a:r>
            <a:r>
              <a:rPr lang="pt-BR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reconhece </a:t>
            </a:r>
            <a:r>
              <a:rPr lang="pt-BR" sz="1600" b="1" dirty="0">
                <a:highlight>
                  <a:srgbClr val="FFC021"/>
                </a:highlight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ormalmente o início de um novo projeto </a:t>
            </a:r>
            <a:r>
              <a:rPr lang="pt-BR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 serve como base para o trabalho do gerente de projeto, que recebe a autoridade para aplicar os recursos organizacionais nas atividades que envolvem seu desenvolvimento. </a:t>
            </a:r>
          </a:p>
        </p:txBody>
      </p:sp>
      <p:pic>
        <p:nvPicPr>
          <p:cNvPr id="25" name="Gráfico 24" descr="Documento">
            <a:extLst>
              <a:ext uri="{FF2B5EF4-FFF2-40B4-BE49-F238E27FC236}">
                <a16:creationId xmlns:a16="http://schemas.microsoft.com/office/drawing/2014/main" id="{4411F336-71C6-49FA-A039-9E028F0C5B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492181" y="4318"/>
            <a:ext cx="1338773" cy="1338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3745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93F5C433-4B6B-49E6-8373-41DD18EC8A2B}"/>
              </a:ext>
            </a:extLst>
          </p:cNvPr>
          <p:cNvSpPr txBox="1"/>
          <p:nvPr/>
        </p:nvSpPr>
        <p:spPr>
          <a:xfrm>
            <a:off x="-1860" y="915566"/>
            <a:ext cx="543795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 do documen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tuação atual e justificativa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s SMAR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dutos e principais requisito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quipe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emissa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triçõ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isco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rçament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78243EE-9A7C-4DB3-9F61-28E922342DAF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conter</a:t>
            </a:r>
          </a:p>
        </p:txBody>
      </p:sp>
    </p:spTree>
    <p:extLst>
      <p:ext uri="{BB962C8B-B14F-4D97-AF65-F5344CB8AC3E}">
        <p14:creationId xmlns:p14="http://schemas.microsoft.com/office/powerpoint/2010/main" val="38356958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93F5C433-4B6B-49E6-8373-41DD18EC8A2B}"/>
              </a:ext>
            </a:extLst>
          </p:cNvPr>
          <p:cNvSpPr txBox="1"/>
          <p:nvPr/>
        </p:nvSpPr>
        <p:spPr>
          <a:xfrm>
            <a:off x="-1860" y="915566"/>
            <a:ext cx="543795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 do documen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tuação atual e justificativa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s SMAR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dutos e principais requisito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quipe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emissa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triçõ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isco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rçament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78243EE-9A7C-4DB3-9F61-28E922342DAF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conter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F9B5DB1C-43CC-4861-B6F6-B5222477F7BE}"/>
              </a:ext>
            </a:extLst>
          </p:cNvPr>
          <p:cNvSpPr/>
          <p:nvPr/>
        </p:nvSpPr>
        <p:spPr>
          <a:xfrm>
            <a:off x="4572000" y="915566"/>
            <a:ext cx="4104456" cy="4019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>
                <a:solidFill>
                  <a:schemeClr val="tx1"/>
                </a:solidFill>
              </a:rPr>
              <a:t>Informações básicas de quem está redigindo o documento, data e qual a sua finalidade</a:t>
            </a:r>
          </a:p>
        </p:txBody>
      </p:sp>
      <p:pic>
        <p:nvPicPr>
          <p:cNvPr id="6" name="Gráfico 5" descr="Cabeça com Engrenagens">
            <a:extLst>
              <a:ext uri="{FF2B5EF4-FFF2-40B4-BE49-F238E27FC236}">
                <a16:creationId xmlns:a16="http://schemas.microsoft.com/office/drawing/2014/main" id="{4E152DCA-3D1F-4A3E-8679-FB8CCD907B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160301" y="975475"/>
            <a:ext cx="516155" cy="516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507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64E1CF8-C8F9-40F3-B1E6-E9BD6BE35A53}"/>
              </a:ext>
            </a:extLst>
          </p:cNvPr>
          <p:cNvSpPr txBox="1"/>
          <p:nvPr/>
        </p:nvSpPr>
        <p:spPr>
          <a:xfrm>
            <a:off x="313046" y="208186"/>
            <a:ext cx="69952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pectativas</a:t>
            </a:r>
          </a:p>
        </p:txBody>
      </p:sp>
      <p:pic>
        <p:nvPicPr>
          <p:cNvPr id="22530" name="Picture 2" descr="Resultado de imagem para expectations">
            <a:extLst>
              <a:ext uri="{FF2B5EF4-FFF2-40B4-BE49-F238E27FC236}">
                <a16:creationId xmlns:a16="http://schemas.microsoft.com/office/drawing/2014/main" id="{83AFB635-12C5-4B61-8EBB-B770D9FC85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144" y="0"/>
            <a:ext cx="9170144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25234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93F5C433-4B6B-49E6-8373-41DD18EC8A2B}"/>
              </a:ext>
            </a:extLst>
          </p:cNvPr>
          <p:cNvSpPr txBox="1"/>
          <p:nvPr/>
        </p:nvSpPr>
        <p:spPr>
          <a:xfrm>
            <a:off x="-1860" y="915566"/>
            <a:ext cx="543795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 do documen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tuação atual e justificativa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s SMAR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dutos e principais requisito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quipe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emissa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triçõ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isco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rçament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78243EE-9A7C-4DB3-9F61-28E922342DAF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conter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F9B5DB1C-43CC-4861-B6F6-B5222477F7BE}"/>
              </a:ext>
            </a:extLst>
          </p:cNvPr>
          <p:cNvSpPr/>
          <p:nvPr/>
        </p:nvSpPr>
        <p:spPr>
          <a:xfrm>
            <a:off x="4572000" y="915566"/>
            <a:ext cx="4104456" cy="4019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>
                <a:solidFill>
                  <a:schemeClr val="tx1"/>
                </a:solidFill>
              </a:rPr>
              <a:t>Todo projeto precisa ter um motivo para existir, e é neste espaço que vamos encontrar essa informação.</a:t>
            </a:r>
          </a:p>
        </p:txBody>
      </p:sp>
      <p:pic>
        <p:nvPicPr>
          <p:cNvPr id="7" name="Gráfico 6" descr="Lupa">
            <a:extLst>
              <a:ext uri="{FF2B5EF4-FFF2-40B4-BE49-F238E27FC236}">
                <a16:creationId xmlns:a16="http://schemas.microsoft.com/office/drawing/2014/main" id="{621ADCCC-4BEB-48A1-B1B4-6F767F870E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177873" y="960356"/>
            <a:ext cx="426575" cy="426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5586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93F5C433-4B6B-49E6-8373-41DD18EC8A2B}"/>
              </a:ext>
            </a:extLst>
          </p:cNvPr>
          <p:cNvSpPr txBox="1"/>
          <p:nvPr/>
        </p:nvSpPr>
        <p:spPr>
          <a:xfrm>
            <a:off x="-1860" y="915566"/>
            <a:ext cx="543795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 do documen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tuação atual e justificativa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s SMAR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dutos e principais requisito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quipe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emissa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triçõ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isco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rçament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78243EE-9A7C-4DB3-9F61-28E922342DAF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conter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F9B5DB1C-43CC-4861-B6F6-B5222477F7BE}"/>
              </a:ext>
            </a:extLst>
          </p:cNvPr>
          <p:cNvSpPr/>
          <p:nvPr/>
        </p:nvSpPr>
        <p:spPr>
          <a:xfrm>
            <a:off x="4572000" y="915566"/>
            <a:ext cx="4104456" cy="4019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sz="2400" dirty="0">
                <a:solidFill>
                  <a:schemeClr val="tx1"/>
                </a:solidFill>
              </a:rPr>
              <a:t>Neste campo deve se discriminar aonde se quer chegar e como será mensurado se realmente conseguimos chegar lá.</a:t>
            </a:r>
          </a:p>
        </p:txBody>
      </p:sp>
      <p:pic>
        <p:nvPicPr>
          <p:cNvPr id="19464" name="Picture 8" descr="Resultado de imagem para objetivo smart">
            <a:extLst>
              <a:ext uri="{FF2B5EF4-FFF2-40B4-BE49-F238E27FC236}">
                <a16:creationId xmlns:a16="http://schemas.microsoft.com/office/drawing/2014/main" id="{F577BE21-8B69-4FA5-B043-224189D867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6570" y="2535834"/>
            <a:ext cx="1970684" cy="2399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áfico 5" descr="Espiral">
            <a:extLst>
              <a:ext uri="{FF2B5EF4-FFF2-40B4-BE49-F238E27FC236}">
                <a16:creationId xmlns:a16="http://schemas.microsoft.com/office/drawing/2014/main" id="{5B7F9FC8-BCA5-4E08-80C7-E4F34C91DA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203153" y="932883"/>
            <a:ext cx="426575" cy="426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9899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93F5C433-4B6B-49E6-8373-41DD18EC8A2B}"/>
              </a:ext>
            </a:extLst>
          </p:cNvPr>
          <p:cNvSpPr txBox="1"/>
          <p:nvPr/>
        </p:nvSpPr>
        <p:spPr>
          <a:xfrm>
            <a:off x="-1860" y="915566"/>
            <a:ext cx="543795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 do documen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tuação atual e justificativa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s SMAR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dutos e principais requisito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quipe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emissa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triçõ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isco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rçament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78243EE-9A7C-4DB3-9F61-28E922342DAF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conter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F9B5DB1C-43CC-4861-B6F6-B5222477F7BE}"/>
              </a:ext>
            </a:extLst>
          </p:cNvPr>
          <p:cNvSpPr/>
          <p:nvPr/>
        </p:nvSpPr>
        <p:spPr>
          <a:xfrm>
            <a:off x="4572000" y="915566"/>
            <a:ext cx="4104456" cy="4019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>
                <a:solidFill>
                  <a:schemeClr val="tx1"/>
                </a:solidFill>
              </a:rPr>
              <a:t>Define e documenta as características e funções do produto e do projeto que atendam as necessidades e expectativas de interessados.</a:t>
            </a:r>
          </a:p>
        </p:txBody>
      </p:sp>
      <p:pic>
        <p:nvPicPr>
          <p:cNvPr id="6" name="Gráfico 5" descr="Manual">
            <a:extLst>
              <a:ext uri="{FF2B5EF4-FFF2-40B4-BE49-F238E27FC236}">
                <a16:creationId xmlns:a16="http://schemas.microsoft.com/office/drawing/2014/main" id="{472C6B03-5654-4906-807D-DAE25826A8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051908" y="874785"/>
            <a:ext cx="624548" cy="624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2486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93F5C433-4B6B-49E6-8373-41DD18EC8A2B}"/>
              </a:ext>
            </a:extLst>
          </p:cNvPr>
          <p:cNvSpPr txBox="1"/>
          <p:nvPr/>
        </p:nvSpPr>
        <p:spPr>
          <a:xfrm>
            <a:off x="-1860" y="915566"/>
            <a:ext cx="543795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 do documen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tuação atual e justificativa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s SMAR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dutos e principais requisito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quipe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emissa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triçõ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isco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rçament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78243EE-9A7C-4DB3-9F61-28E922342DAF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conter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F9B5DB1C-43CC-4861-B6F6-B5222477F7BE}"/>
              </a:ext>
            </a:extLst>
          </p:cNvPr>
          <p:cNvSpPr/>
          <p:nvPr/>
        </p:nvSpPr>
        <p:spPr>
          <a:xfrm>
            <a:off x="4572000" y="915566"/>
            <a:ext cx="4104456" cy="4019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800" dirty="0">
                <a:solidFill>
                  <a:schemeClr val="tx1"/>
                </a:solidFill>
              </a:rPr>
              <a:t>Aqui vem a descrição de todos os envolvidos diretamente no projeto. </a:t>
            </a:r>
          </a:p>
          <a:p>
            <a:endParaRPr lang="pt-BR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b="1" dirty="0" err="1">
                <a:solidFill>
                  <a:schemeClr val="tx1"/>
                </a:solidFill>
              </a:rPr>
              <a:t>Sponsor</a:t>
            </a:r>
            <a:r>
              <a:rPr lang="pt-BR" sz="1800" b="1" dirty="0">
                <a:solidFill>
                  <a:schemeClr val="tx1"/>
                </a:solidFill>
              </a:rPr>
              <a:t> –</a:t>
            </a:r>
            <a:r>
              <a:rPr lang="pt-BR" sz="1800" dirty="0">
                <a:solidFill>
                  <a:schemeClr val="tx1"/>
                </a:solidFill>
              </a:rPr>
              <a:t> pessoa com muito interesse que “banca” o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b="1" dirty="0" err="1">
                <a:solidFill>
                  <a:schemeClr val="tx1"/>
                </a:solidFill>
              </a:rPr>
              <a:t>Steering</a:t>
            </a:r>
            <a:r>
              <a:rPr lang="pt-BR" sz="1800" b="1" dirty="0">
                <a:solidFill>
                  <a:schemeClr val="tx1"/>
                </a:solidFill>
              </a:rPr>
              <a:t> </a:t>
            </a:r>
            <a:r>
              <a:rPr lang="pt-BR" sz="1800" b="1" dirty="0" err="1">
                <a:solidFill>
                  <a:schemeClr val="tx1"/>
                </a:solidFill>
              </a:rPr>
              <a:t>Committee</a:t>
            </a:r>
            <a:r>
              <a:rPr lang="pt-BR" sz="1800" b="1" dirty="0">
                <a:solidFill>
                  <a:schemeClr val="tx1"/>
                </a:solidFill>
              </a:rPr>
              <a:t> – </a:t>
            </a:r>
            <a:r>
              <a:rPr lang="pt-BR" sz="1800" dirty="0">
                <a:solidFill>
                  <a:schemeClr val="tx1"/>
                </a:solidFill>
              </a:rPr>
              <a:t>comitê que toma decisões estratégic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b="1" dirty="0">
                <a:solidFill>
                  <a:schemeClr val="tx1"/>
                </a:solidFill>
              </a:rPr>
              <a:t>Líder –</a:t>
            </a:r>
            <a:r>
              <a:rPr lang="pt-BR" sz="1800" dirty="0">
                <a:solidFill>
                  <a:schemeClr val="tx1"/>
                </a:solidFill>
              </a:rPr>
              <a:t> gestor do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b="1" dirty="0">
                <a:solidFill>
                  <a:schemeClr val="tx1"/>
                </a:solidFill>
              </a:rPr>
              <a:t>Time –</a:t>
            </a:r>
            <a:r>
              <a:rPr lang="pt-BR" sz="1800" dirty="0">
                <a:solidFill>
                  <a:schemeClr val="tx1"/>
                </a:solidFill>
              </a:rPr>
              <a:t> grupo que executa atividades no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b="1" dirty="0">
                <a:solidFill>
                  <a:schemeClr val="tx1"/>
                </a:solidFill>
              </a:rPr>
              <a:t>Stakeholders –</a:t>
            </a:r>
            <a:r>
              <a:rPr lang="pt-BR" sz="1800" dirty="0">
                <a:solidFill>
                  <a:schemeClr val="tx1"/>
                </a:solidFill>
              </a:rPr>
              <a:t> demais partes interessadas</a:t>
            </a:r>
          </a:p>
          <a:p>
            <a:endParaRPr lang="pt-BR" sz="1800" dirty="0">
              <a:solidFill>
                <a:schemeClr val="tx1"/>
              </a:solidFill>
            </a:endParaRPr>
          </a:p>
        </p:txBody>
      </p:sp>
      <p:pic>
        <p:nvPicPr>
          <p:cNvPr id="7" name="Gráfico 6" descr="Time">
            <a:extLst>
              <a:ext uri="{FF2B5EF4-FFF2-40B4-BE49-F238E27FC236}">
                <a16:creationId xmlns:a16="http://schemas.microsoft.com/office/drawing/2014/main" id="{54F5F0C8-3C12-418C-A87C-333C9CE711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132817" y="981443"/>
            <a:ext cx="516155" cy="516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430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93F5C433-4B6B-49E6-8373-41DD18EC8A2B}"/>
              </a:ext>
            </a:extLst>
          </p:cNvPr>
          <p:cNvSpPr txBox="1"/>
          <p:nvPr/>
        </p:nvSpPr>
        <p:spPr>
          <a:xfrm>
            <a:off x="-1860" y="915566"/>
            <a:ext cx="543795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 do documen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tuação atual e justificativa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s SMAR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dutos e principais requisito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quipe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emissa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triçõ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isco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rçament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78243EE-9A7C-4DB3-9F61-28E922342DAF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conter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F9B5DB1C-43CC-4861-B6F6-B5222477F7BE}"/>
              </a:ext>
            </a:extLst>
          </p:cNvPr>
          <p:cNvSpPr/>
          <p:nvPr/>
        </p:nvSpPr>
        <p:spPr>
          <a:xfrm>
            <a:off x="4572000" y="915566"/>
            <a:ext cx="4104456" cy="4019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</a:rPr>
              <a:t>Algumas suposições nas quais se acredita e se confia que sejam verdadeiras, embora ainda estejam para ser testadas como, por exemplo, pressupor que um fornecedor consiga entregar um produto em até determinado prazo</a:t>
            </a:r>
          </a:p>
        </p:txBody>
      </p:sp>
      <p:pic>
        <p:nvPicPr>
          <p:cNvPr id="6" name="Gráfico 5" descr="Globo">
            <a:extLst>
              <a:ext uri="{FF2B5EF4-FFF2-40B4-BE49-F238E27FC236}">
                <a16:creationId xmlns:a16="http://schemas.microsoft.com/office/drawing/2014/main" id="{E156F6A5-1880-406A-A905-CC231C814E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194524" y="974874"/>
            <a:ext cx="469232" cy="46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2266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93F5C433-4B6B-49E6-8373-41DD18EC8A2B}"/>
              </a:ext>
            </a:extLst>
          </p:cNvPr>
          <p:cNvSpPr txBox="1"/>
          <p:nvPr/>
        </p:nvSpPr>
        <p:spPr>
          <a:xfrm>
            <a:off x="-1860" y="915566"/>
            <a:ext cx="543795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 do documen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tuação atual e justificativa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s SMAR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dutos e principais requisito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quipe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emissa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triçõ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isco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rçament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78243EE-9A7C-4DB3-9F61-28E922342DAF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conter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F9B5DB1C-43CC-4861-B6F6-B5222477F7BE}"/>
              </a:ext>
            </a:extLst>
          </p:cNvPr>
          <p:cNvSpPr/>
          <p:nvPr/>
        </p:nvSpPr>
        <p:spPr>
          <a:xfrm>
            <a:off x="4572000" y="915566"/>
            <a:ext cx="4104456" cy="4019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</a:rPr>
              <a:t>Limites que já são conhecidos e que impactarão o projeto. Normalmente há restrições quanto a aportes financeiros, prazos e tamanho da equipe. Podem estar ligados também a aspectos técnicos.</a:t>
            </a:r>
          </a:p>
        </p:txBody>
      </p:sp>
      <p:pic>
        <p:nvPicPr>
          <p:cNvPr id="6" name="Gráfico 5" descr="Quebra-cabeças">
            <a:extLst>
              <a:ext uri="{FF2B5EF4-FFF2-40B4-BE49-F238E27FC236}">
                <a16:creationId xmlns:a16="http://schemas.microsoft.com/office/drawing/2014/main" id="{DE0B7CD0-7186-4943-BAFB-5A46668E37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147916" y="962174"/>
            <a:ext cx="469232" cy="46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5962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93F5C433-4B6B-49E6-8373-41DD18EC8A2B}"/>
              </a:ext>
            </a:extLst>
          </p:cNvPr>
          <p:cNvSpPr txBox="1"/>
          <p:nvPr/>
        </p:nvSpPr>
        <p:spPr>
          <a:xfrm>
            <a:off x="-1860" y="915566"/>
            <a:ext cx="543795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 do documen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tuação atual e justificativa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s SMAR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dutos e principais requisito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quipe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emissa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triçõ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isco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rçament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78243EE-9A7C-4DB3-9F61-28E922342DAF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conter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F9B5DB1C-43CC-4861-B6F6-B5222477F7BE}"/>
              </a:ext>
            </a:extLst>
          </p:cNvPr>
          <p:cNvSpPr/>
          <p:nvPr/>
        </p:nvSpPr>
        <p:spPr>
          <a:xfrm>
            <a:off x="4572000" y="915566"/>
            <a:ext cx="4104456" cy="4019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</a:rPr>
              <a:t>Mapear, conhecer e controlar os riscos é uma etapa fundamental em todo projeto. Nesse momento, alguns deles — os mais iminentes — já são listados para que se possa ter noção do que pode ocorrer (tanto de pior como de melhor) antes mesmo de se começar o projeto.</a:t>
            </a:r>
          </a:p>
        </p:txBody>
      </p:sp>
      <p:pic>
        <p:nvPicPr>
          <p:cNvPr id="6" name="Gráfico 5" descr="Aviso">
            <a:extLst>
              <a:ext uri="{FF2B5EF4-FFF2-40B4-BE49-F238E27FC236}">
                <a16:creationId xmlns:a16="http://schemas.microsoft.com/office/drawing/2014/main" id="{9A7D9DE0-A281-4B23-B2AB-23E0A8AC00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170045" y="1012974"/>
            <a:ext cx="387795" cy="387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8812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93F5C433-4B6B-49E6-8373-41DD18EC8A2B}"/>
              </a:ext>
            </a:extLst>
          </p:cNvPr>
          <p:cNvSpPr txBox="1"/>
          <p:nvPr/>
        </p:nvSpPr>
        <p:spPr>
          <a:xfrm>
            <a:off x="-1860" y="915566"/>
            <a:ext cx="543795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 do documen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tuação atual e justificativa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bjetivos SMAR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dutos e principais requisito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quipe do proje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emissa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triçõ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isco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pt-BR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rçament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78243EE-9A7C-4DB3-9F61-28E922342DAF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 que deve conter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F9B5DB1C-43CC-4861-B6F6-B5222477F7BE}"/>
              </a:ext>
            </a:extLst>
          </p:cNvPr>
          <p:cNvSpPr/>
          <p:nvPr/>
        </p:nvSpPr>
        <p:spPr>
          <a:xfrm>
            <a:off x="4572000" y="915566"/>
            <a:ext cx="4104456" cy="4019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</a:rPr>
              <a:t>É indicado o valor que se tem disponível para todo o projeto com detalhamento das suas informações, como prazos de entrada de verba e outros detalhes do tipo.</a:t>
            </a:r>
          </a:p>
        </p:txBody>
      </p:sp>
      <p:pic>
        <p:nvPicPr>
          <p:cNvPr id="6" name="Gráfico 5" descr="Moedas">
            <a:extLst>
              <a:ext uri="{FF2B5EF4-FFF2-40B4-BE49-F238E27FC236}">
                <a16:creationId xmlns:a16="http://schemas.microsoft.com/office/drawing/2014/main" id="{178ACF20-34DA-4CD3-B475-FCE439FCAC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075908" y="975790"/>
            <a:ext cx="469232" cy="46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2230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059832" y="2139702"/>
            <a:ext cx="30243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a </a:t>
            </a:r>
            <a:r>
              <a:rPr lang="pt-BR" sz="2800" b="1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lüber</a:t>
            </a:r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5733900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4"/>
          <p:cNvSpPr>
            <a:spLocks noGrp="1"/>
          </p:cNvSpPr>
          <p:nvPr>
            <p:ph type="dt" sz="half" idx="4294967295"/>
          </p:nvPr>
        </p:nvSpPr>
        <p:spPr>
          <a:xfrm>
            <a:off x="352425" y="39688"/>
            <a:ext cx="773113" cy="1873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389626" rtl="0" eaLnBrk="1" fontAlgn="base" latinLnBrk="0" hangingPunct="1">
              <a:lnSpc>
                <a:spcPts val="75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906D6FD-52A8-4877-A76F-12AA71901FE6}" type="datetime1">
              <a:rPr kumimoji="0" lang="de-DE" altLang="de-DE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/>
              </a:rPr>
              <a:pPr marL="0" marR="0" lvl="0" indent="0" algn="l" defTabSz="389626" rtl="0" eaLnBrk="1" fontAlgn="base" latinLnBrk="0" hangingPunct="1">
                <a:lnSpc>
                  <a:spcPts val="75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.06.2018</a:t>
            </a:fld>
            <a:endParaRPr kumimoji="0" lang="de-DE" altLang="de-DE" sz="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/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1335088" y="39688"/>
            <a:ext cx="555625" cy="1873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389626" rtl="0" eaLnBrk="1" fontAlgn="base" latinLnBrk="0" hangingPunct="1">
              <a:lnSpc>
                <a:spcPts val="75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rPr>
              <a:t>/ Slide </a:t>
            </a:r>
            <a:fld id="{6E5B58BE-19C4-3F4F-B830-08257C405AA1}" type="slidenum">
              <a:rPr kumimoji="0" lang="de-DE" altLang="de-DE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rPr>
              <a:pPr marL="0" marR="0" lvl="0" indent="0" algn="l" defTabSz="389626" rtl="0" eaLnBrk="1" fontAlgn="base" latinLnBrk="0" hangingPunct="1">
                <a:lnSpc>
                  <a:spcPts val="75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DE" altLang="de-DE" sz="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  <p:grpSp>
        <p:nvGrpSpPr>
          <p:cNvPr id="44" name="Gruppieren 23"/>
          <p:cNvGrpSpPr>
            <a:grpSpLocks/>
          </p:cNvGrpSpPr>
          <p:nvPr/>
        </p:nvGrpSpPr>
        <p:grpSpPr bwMode="auto">
          <a:xfrm>
            <a:off x="107504" y="2116719"/>
            <a:ext cx="1408112" cy="983446"/>
            <a:chOff x="344360" y="1293085"/>
            <a:chExt cx="1408112" cy="2122487"/>
          </a:xfrm>
        </p:grpSpPr>
        <p:sp>
          <p:nvSpPr>
            <p:cNvPr id="45" name="Freeform 7"/>
            <p:cNvSpPr>
              <a:spLocks/>
            </p:cNvSpPr>
            <p:nvPr/>
          </p:nvSpPr>
          <p:spPr bwMode="auto">
            <a:xfrm>
              <a:off x="344360" y="1293085"/>
              <a:ext cx="1408112" cy="2122487"/>
            </a:xfrm>
            <a:custGeom>
              <a:avLst/>
              <a:gdLst>
                <a:gd name="T0" fmla="*/ 2147483647 w 1030"/>
                <a:gd name="T1" fmla="*/ 0 h 535"/>
                <a:gd name="T2" fmla="*/ 0 w 1030"/>
                <a:gd name="T3" fmla="*/ 0 h 535"/>
                <a:gd name="T4" fmla="*/ 0 w 1030"/>
                <a:gd name="T5" fmla="*/ 2147483647 h 535"/>
                <a:gd name="T6" fmla="*/ 2147483647 w 1030"/>
                <a:gd name="T7" fmla="*/ 2147483647 h 535"/>
                <a:gd name="T8" fmla="*/ 2147483647 w 1030"/>
                <a:gd name="T9" fmla="*/ 2147483647 h 535"/>
                <a:gd name="T10" fmla="*/ 2147483647 w 1030"/>
                <a:gd name="T11" fmla="*/ 0 h 5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30" h="535">
                  <a:moveTo>
                    <a:pt x="911" y="0"/>
                  </a:moveTo>
                  <a:lnTo>
                    <a:pt x="0" y="0"/>
                  </a:lnTo>
                  <a:lnTo>
                    <a:pt x="0" y="535"/>
                  </a:lnTo>
                  <a:lnTo>
                    <a:pt x="911" y="535"/>
                  </a:lnTo>
                  <a:lnTo>
                    <a:pt x="1030" y="267"/>
                  </a:lnTo>
                  <a:lnTo>
                    <a:pt x="911" y="0"/>
                  </a:lnTo>
                  <a:close/>
                </a:path>
              </a:pathLst>
            </a:custGeom>
            <a:solidFill>
              <a:srgbClr val="CCCDD0"/>
            </a:solidFill>
            <a:ln w="8001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endParaRPr>
            </a:p>
          </p:txBody>
        </p:sp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497301" y="2226089"/>
              <a:ext cx="570669" cy="2564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82C8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de-DE" alt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Problem</a:t>
              </a:r>
            </a:p>
          </p:txBody>
        </p:sp>
      </p:grpSp>
      <p:sp>
        <p:nvSpPr>
          <p:cNvPr id="59" name="Text Box 9"/>
          <p:cNvSpPr txBox="1">
            <a:spLocks noChangeArrowheads="1"/>
          </p:cNvSpPr>
          <p:nvPr/>
        </p:nvSpPr>
        <p:spPr bwMode="auto">
          <a:xfrm>
            <a:off x="1598166" y="2116719"/>
            <a:ext cx="3608388" cy="98344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Times New Roman" pitchFamily="18" charset="0"/>
              <a:buNone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5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60" name="Gruppieren 1"/>
          <p:cNvGrpSpPr>
            <a:grpSpLocks/>
          </p:cNvGrpSpPr>
          <p:nvPr/>
        </p:nvGrpSpPr>
        <p:grpSpPr bwMode="auto">
          <a:xfrm>
            <a:off x="109091" y="3147918"/>
            <a:ext cx="1408113" cy="1189970"/>
            <a:chOff x="345503" y="3485317"/>
            <a:chExt cx="1408112" cy="1450975"/>
          </a:xfrm>
        </p:grpSpPr>
        <p:sp>
          <p:nvSpPr>
            <p:cNvPr id="61" name="Freeform 11"/>
            <p:cNvSpPr>
              <a:spLocks/>
            </p:cNvSpPr>
            <p:nvPr/>
          </p:nvSpPr>
          <p:spPr bwMode="auto">
            <a:xfrm>
              <a:off x="345503" y="3485317"/>
              <a:ext cx="1408112" cy="1450975"/>
            </a:xfrm>
            <a:custGeom>
              <a:avLst/>
              <a:gdLst>
                <a:gd name="T0" fmla="*/ 2147483647 w 1000"/>
                <a:gd name="T1" fmla="*/ 0 h 687"/>
                <a:gd name="T2" fmla="*/ 0 w 1000"/>
                <a:gd name="T3" fmla="*/ 0 h 687"/>
                <a:gd name="T4" fmla="*/ 0 w 1000"/>
                <a:gd name="T5" fmla="*/ 2147483647 h 687"/>
                <a:gd name="T6" fmla="*/ 2147483647 w 1000"/>
                <a:gd name="T7" fmla="*/ 2147483647 h 687"/>
                <a:gd name="T8" fmla="*/ 2147483647 w 1000"/>
                <a:gd name="T9" fmla="*/ 2147483647 h 687"/>
                <a:gd name="T10" fmla="*/ 2147483647 w 1000"/>
                <a:gd name="T11" fmla="*/ 0 h 68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00" h="687">
                  <a:moveTo>
                    <a:pt x="893" y="0"/>
                  </a:moveTo>
                  <a:lnTo>
                    <a:pt x="0" y="0"/>
                  </a:lnTo>
                  <a:lnTo>
                    <a:pt x="0" y="687"/>
                  </a:lnTo>
                  <a:lnTo>
                    <a:pt x="893" y="687"/>
                  </a:lnTo>
                  <a:lnTo>
                    <a:pt x="1000" y="343"/>
                  </a:lnTo>
                  <a:lnTo>
                    <a:pt x="893" y="0"/>
                  </a:lnTo>
                  <a:close/>
                </a:path>
              </a:pathLst>
            </a:custGeom>
            <a:solidFill>
              <a:srgbClr val="CCCDD0"/>
            </a:solidFill>
            <a:ln w="8001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endParaRPr>
            </a:p>
          </p:txBody>
        </p:sp>
        <p:sp>
          <p:nvSpPr>
            <p:cNvPr id="62" name="Rectangle 12"/>
            <p:cNvSpPr>
              <a:spLocks noChangeArrowheads="1"/>
            </p:cNvSpPr>
            <p:nvPr/>
          </p:nvSpPr>
          <p:spPr bwMode="auto">
            <a:xfrm>
              <a:off x="432379" y="3941273"/>
              <a:ext cx="639599" cy="549894"/>
            </a:xfrm>
            <a:prstGeom prst="rect">
              <a:avLst/>
            </a:prstGeom>
            <a:solidFill>
              <a:srgbClr val="CCCD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de-DE" alt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Objective</a:t>
              </a:r>
            </a:p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de-DE" alt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(SMART)</a:t>
              </a:r>
            </a:p>
          </p:txBody>
        </p:sp>
      </p:grpSp>
      <p:sp>
        <p:nvSpPr>
          <p:cNvPr id="63" name="Text Box 13"/>
          <p:cNvSpPr txBox="1">
            <a:spLocks noChangeArrowheads="1"/>
          </p:cNvSpPr>
          <p:nvPr/>
        </p:nvSpPr>
        <p:spPr bwMode="auto">
          <a:xfrm>
            <a:off x="1599754" y="3147918"/>
            <a:ext cx="3614737" cy="118997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Times New Roman" pitchFamily="18" charset="0"/>
              <a:buNone/>
              <a:tabLst/>
              <a:defRPr/>
            </a:pPr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5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64" name="Text Box 37"/>
          <p:cNvSpPr txBox="1">
            <a:spLocks noChangeArrowheads="1"/>
          </p:cNvSpPr>
          <p:nvPr/>
        </p:nvSpPr>
        <p:spPr bwMode="auto">
          <a:xfrm>
            <a:off x="1604516" y="4382394"/>
            <a:ext cx="3609975" cy="32480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38893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Times New Roman" pitchFamily="18" charset="0"/>
              <a:buNone/>
              <a:tabLst/>
              <a:defRPr/>
            </a:pPr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5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65" name="Gruppieren 3"/>
          <p:cNvGrpSpPr>
            <a:grpSpLocks/>
          </p:cNvGrpSpPr>
          <p:nvPr/>
        </p:nvGrpSpPr>
        <p:grpSpPr bwMode="auto">
          <a:xfrm>
            <a:off x="109091" y="4382394"/>
            <a:ext cx="1411288" cy="324804"/>
            <a:chOff x="345503" y="5361117"/>
            <a:chExt cx="1411287" cy="295275"/>
          </a:xfrm>
        </p:grpSpPr>
        <p:sp>
          <p:nvSpPr>
            <p:cNvPr id="70" name="Freeform 35"/>
            <p:cNvSpPr>
              <a:spLocks/>
            </p:cNvSpPr>
            <p:nvPr/>
          </p:nvSpPr>
          <p:spPr bwMode="auto">
            <a:xfrm>
              <a:off x="345503" y="5361117"/>
              <a:ext cx="1411287" cy="295275"/>
            </a:xfrm>
            <a:custGeom>
              <a:avLst/>
              <a:gdLst>
                <a:gd name="T0" fmla="*/ 2147483647 w 1001"/>
                <a:gd name="T1" fmla="*/ 0 h 289"/>
                <a:gd name="T2" fmla="*/ 0 w 1001"/>
                <a:gd name="T3" fmla="*/ 0 h 289"/>
                <a:gd name="T4" fmla="*/ 0 w 1001"/>
                <a:gd name="T5" fmla="*/ 2147483647 h 289"/>
                <a:gd name="T6" fmla="*/ 2147483647 w 1001"/>
                <a:gd name="T7" fmla="*/ 2147483647 h 289"/>
                <a:gd name="T8" fmla="*/ 2147483647 w 1001"/>
                <a:gd name="T9" fmla="*/ 2147483647 h 289"/>
                <a:gd name="T10" fmla="*/ 2147483647 w 1001"/>
                <a:gd name="T11" fmla="*/ 0 h 28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01" h="289">
                  <a:moveTo>
                    <a:pt x="885" y="0"/>
                  </a:moveTo>
                  <a:lnTo>
                    <a:pt x="0" y="0"/>
                  </a:lnTo>
                  <a:lnTo>
                    <a:pt x="0" y="289"/>
                  </a:lnTo>
                  <a:lnTo>
                    <a:pt x="885" y="289"/>
                  </a:lnTo>
                  <a:lnTo>
                    <a:pt x="1001" y="144"/>
                  </a:lnTo>
                  <a:lnTo>
                    <a:pt x="885" y="0"/>
                  </a:lnTo>
                  <a:close/>
                </a:path>
              </a:pathLst>
            </a:custGeom>
            <a:solidFill>
              <a:srgbClr val="CCCDD0"/>
            </a:solidFill>
            <a:ln w="8001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endParaRPr>
            </a:p>
          </p:txBody>
        </p:sp>
        <p:sp>
          <p:nvSpPr>
            <p:cNvPr id="71" name="Rectangle 36"/>
            <p:cNvSpPr>
              <a:spLocks noChangeArrowheads="1"/>
            </p:cNvSpPr>
            <p:nvPr/>
          </p:nvSpPr>
          <p:spPr bwMode="auto">
            <a:xfrm>
              <a:off x="398080" y="5380515"/>
              <a:ext cx="997067" cy="256480"/>
            </a:xfrm>
            <a:prstGeom prst="rect">
              <a:avLst/>
            </a:prstGeom>
            <a:solidFill>
              <a:srgbClr val="CCCD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de-DE" alt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Project Leader</a:t>
              </a:r>
            </a:p>
          </p:txBody>
        </p:sp>
      </p:grpSp>
      <p:grpSp>
        <p:nvGrpSpPr>
          <p:cNvPr id="72" name="Gruppieren 4"/>
          <p:cNvGrpSpPr>
            <a:grpSpLocks/>
          </p:cNvGrpSpPr>
          <p:nvPr/>
        </p:nvGrpSpPr>
        <p:grpSpPr bwMode="auto">
          <a:xfrm>
            <a:off x="107504" y="4753869"/>
            <a:ext cx="1411287" cy="324804"/>
            <a:chOff x="344360" y="5721167"/>
            <a:chExt cx="1411287" cy="295275"/>
          </a:xfrm>
        </p:grpSpPr>
        <p:sp>
          <p:nvSpPr>
            <p:cNvPr id="73" name="Freeform 35"/>
            <p:cNvSpPr>
              <a:spLocks/>
            </p:cNvSpPr>
            <p:nvPr/>
          </p:nvSpPr>
          <p:spPr bwMode="auto">
            <a:xfrm>
              <a:off x="344360" y="5721167"/>
              <a:ext cx="1411287" cy="295275"/>
            </a:xfrm>
            <a:custGeom>
              <a:avLst/>
              <a:gdLst>
                <a:gd name="T0" fmla="*/ 2147483647 w 1001"/>
                <a:gd name="T1" fmla="*/ 0 h 289"/>
                <a:gd name="T2" fmla="*/ 0 w 1001"/>
                <a:gd name="T3" fmla="*/ 0 h 289"/>
                <a:gd name="T4" fmla="*/ 0 w 1001"/>
                <a:gd name="T5" fmla="*/ 2147483647 h 289"/>
                <a:gd name="T6" fmla="*/ 2147483647 w 1001"/>
                <a:gd name="T7" fmla="*/ 2147483647 h 289"/>
                <a:gd name="T8" fmla="*/ 2147483647 w 1001"/>
                <a:gd name="T9" fmla="*/ 2147483647 h 289"/>
                <a:gd name="T10" fmla="*/ 2147483647 w 1001"/>
                <a:gd name="T11" fmla="*/ 0 h 28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01" h="289">
                  <a:moveTo>
                    <a:pt x="885" y="0"/>
                  </a:moveTo>
                  <a:lnTo>
                    <a:pt x="0" y="0"/>
                  </a:lnTo>
                  <a:lnTo>
                    <a:pt x="0" y="289"/>
                  </a:lnTo>
                  <a:lnTo>
                    <a:pt x="885" y="289"/>
                  </a:lnTo>
                  <a:lnTo>
                    <a:pt x="1001" y="144"/>
                  </a:lnTo>
                  <a:lnTo>
                    <a:pt x="885" y="0"/>
                  </a:lnTo>
                  <a:close/>
                </a:path>
              </a:pathLst>
            </a:custGeom>
            <a:solidFill>
              <a:srgbClr val="CCCDD0"/>
            </a:solidFill>
            <a:ln w="8001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endParaRPr>
            </a:p>
          </p:txBody>
        </p:sp>
        <p:sp>
          <p:nvSpPr>
            <p:cNvPr id="74" name="Rectangle 36"/>
            <p:cNvSpPr>
              <a:spLocks noChangeArrowheads="1"/>
            </p:cNvSpPr>
            <p:nvPr/>
          </p:nvSpPr>
          <p:spPr bwMode="auto">
            <a:xfrm>
              <a:off x="488484" y="5740565"/>
              <a:ext cx="570669" cy="256480"/>
            </a:xfrm>
            <a:prstGeom prst="rect">
              <a:avLst/>
            </a:prstGeom>
            <a:solidFill>
              <a:srgbClr val="CCCD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de-DE" alt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Sponsor</a:t>
              </a:r>
            </a:p>
          </p:txBody>
        </p:sp>
      </p:grpSp>
      <p:sp>
        <p:nvSpPr>
          <p:cNvPr id="75" name="Text Box 37"/>
          <p:cNvSpPr txBox="1">
            <a:spLocks noChangeArrowheads="1"/>
          </p:cNvSpPr>
          <p:nvPr/>
        </p:nvSpPr>
        <p:spPr bwMode="auto">
          <a:xfrm>
            <a:off x="1602929" y="4753869"/>
            <a:ext cx="3609975" cy="32480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38893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Times New Roman" pitchFamily="18" charset="0"/>
              <a:buNone/>
              <a:tabLst/>
              <a:defRPr/>
            </a:pPr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5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82" name="Gruppieren 52"/>
          <p:cNvGrpSpPr/>
          <p:nvPr/>
        </p:nvGrpSpPr>
        <p:grpSpPr>
          <a:xfrm>
            <a:off x="5292024" y="1119715"/>
            <a:ext cx="1063662" cy="243967"/>
            <a:chOff x="5605463" y="2551762"/>
            <a:chExt cx="2339975" cy="295200"/>
          </a:xfrm>
          <a:solidFill>
            <a:srgbClr val="CCCDD0"/>
          </a:solidFill>
        </p:grpSpPr>
        <p:sp>
          <p:nvSpPr>
            <p:cNvPr id="83" name="Freeform 15"/>
            <p:cNvSpPr>
              <a:spLocks/>
            </p:cNvSpPr>
            <p:nvPr/>
          </p:nvSpPr>
          <p:spPr bwMode="auto">
            <a:xfrm>
              <a:off x="5605463" y="2551762"/>
              <a:ext cx="2339975" cy="295200"/>
            </a:xfrm>
            <a:custGeom>
              <a:avLst/>
              <a:gdLst>
                <a:gd name="T0" fmla="*/ 885 w 1001"/>
                <a:gd name="T1" fmla="*/ 0 h 289"/>
                <a:gd name="T2" fmla="*/ 0 w 1001"/>
                <a:gd name="T3" fmla="*/ 0 h 289"/>
                <a:gd name="T4" fmla="*/ 0 w 1001"/>
                <a:gd name="T5" fmla="*/ 289 h 289"/>
                <a:gd name="T6" fmla="*/ 885 w 1001"/>
                <a:gd name="T7" fmla="*/ 289 h 289"/>
                <a:gd name="T8" fmla="*/ 1001 w 1001"/>
                <a:gd name="T9" fmla="*/ 144 h 289"/>
                <a:gd name="T10" fmla="*/ 885 w 1001"/>
                <a:gd name="T11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1" h="289">
                  <a:moveTo>
                    <a:pt x="885" y="0"/>
                  </a:moveTo>
                  <a:lnTo>
                    <a:pt x="0" y="0"/>
                  </a:lnTo>
                  <a:lnTo>
                    <a:pt x="0" y="289"/>
                  </a:lnTo>
                  <a:lnTo>
                    <a:pt x="885" y="289"/>
                  </a:lnTo>
                  <a:lnTo>
                    <a:pt x="1001" y="144"/>
                  </a:lnTo>
                  <a:lnTo>
                    <a:pt x="885" y="0"/>
                  </a:lnTo>
                  <a:close/>
                </a:path>
              </a:pathLst>
            </a:custGeom>
            <a:grpFill/>
            <a:ln w="8001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endParaRPr>
            </a:p>
          </p:txBody>
        </p:sp>
        <p:sp>
          <p:nvSpPr>
            <p:cNvPr id="84" name="Rectangle 16"/>
            <p:cNvSpPr>
              <a:spLocks noChangeArrowheads="1"/>
            </p:cNvSpPr>
            <p:nvPr/>
          </p:nvSpPr>
          <p:spPr bwMode="auto">
            <a:xfrm>
              <a:off x="5842009" y="2607029"/>
              <a:ext cx="796766" cy="18466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Method</a:t>
              </a: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endParaRPr>
            </a:p>
          </p:txBody>
        </p:sp>
      </p:grpSp>
      <p:sp>
        <p:nvSpPr>
          <p:cNvPr id="85" name="Text Box 17"/>
          <p:cNvSpPr txBox="1">
            <a:spLocks noChangeArrowheads="1"/>
          </p:cNvSpPr>
          <p:nvPr/>
        </p:nvSpPr>
        <p:spPr bwMode="auto">
          <a:xfrm>
            <a:off x="6441082" y="1119728"/>
            <a:ext cx="2630994" cy="24271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38893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Times New Roman" pitchFamily="18" charset="0"/>
              <a:buNone/>
              <a:tabLst>
                <a:tab pos="0" algn="l"/>
                <a:tab pos="990600" algn="r"/>
              </a:tabLst>
              <a:defRPr/>
            </a:pPr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5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88" name="Gruppieren 23"/>
          <p:cNvGrpSpPr>
            <a:grpSpLocks/>
          </p:cNvGrpSpPr>
          <p:nvPr/>
        </p:nvGrpSpPr>
        <p:grpSpPr bwMode="auto">
          <a:xfrm>
            <a:off x="107504" y="1079820"/>
            <a:ext cx="1408112" cy="983446"/>
            <a:chOff x="344360" y="1293085"/>
            <a:chExt cx="1408112" cy="2122487"/>
          </a:xfrm>
        </p:grpSpPr>
        <p:sp>
          <p:nvSpPr>
            <p:cNvPr id="89" name="Freeform 7"/>
            <p:cNvSpPr>
              <a:spLocks/>
            </p:cNvSpPr>
            <p:nvPr/>
          </p:nvSpPr>
          <p:spPr bwMode="auto">
            <a:xfrm>
              <a:off x="344360" y="1293085"/>
              <a:ext cx="1408112" cy="2122487"/>
            </a:xfrm>
            <a:custGeom>
              <a:avLst/>
              <a:gdLst>
                <a:gd name="T0" fmla="*/ 2147483647 w 1030"/>
                <a:gd name="T1" fmla="*/ 0 h 535"/>
                <a:gd name="T2" fmla="*/ 0 w 1030"/>
                <a:gd name="T3" fmla="*/ 0 h 535"/>
                <a:gd name="T4" fmla="*/ 0 w 1030"/>
                <a:gd name="T5" fmla="*/ 2147483647 h 535"/>
                <a:gd name="T6" fmla="*/ 2147483647 w 1030"/>
                <a:gd name="T7" fmla="*/ 2147483647 h 535"/>
                <a:gd name="T8" fmla="*/ 2147483647 w 1030"/>
                <a:gd name="T9" fmla="*/ 2147483647 h 535"/>
                <a:gd name="T10" fmla="*/ 2147483647 w 1030"/>
                <a:gd name="T11" fmla="*/ 0 h 5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30" h="535">
                  <a:moveTo>
                    <a:pt x="911" y="0"/>
                  </a:moveTo>
                  <a:lnTo>
                    <a:pt x="0" y="0"/>
                  </a:lnTo>
                  <a:lnTo>
                    <a:pt x="0" y="535"/>
                  </a:lnTo>
                  <a:lnTo>
                    <a:pt x="911" y="535"/>
                  </a:lnTo>
                  <a:lnTo>
                    <a:pt x="1030" y="267"/>
                  </a:lnTo>
                  <a:lnTo>
                    <a:pt x="911" y="0"/>
                  </a:lnTo>
                  <a:close/>
                </a:path>
              </a:pathLst>
            </a:custGeom>
            <a:solidFill>
              <a:srgbClr val="CCCDD0"/>
            </a:solidFill>
            <a:ln w="8001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endParaRPr>
            </a:p>
          </p:txBody>
        </p:sp>
        <p:sp>
          <p:nvSpPr>
            <p:cNvPr id="90" name="Rectangle 8"/>
            <p:cNvSpPr>
              <a:spLocks noChangeArrowheads="1"/>
            </p:cNvSpPr>
            <p:nvPr/>
          </p:nvSpPr>
          <p:spPr bwMode="auto">
            <a:xfrm>
              <a:off x="411971" y="2186715"/>
              <a:ext cx="817531" cy="3352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82C8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de-DE" alt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Background</a:t>
              </a:r>
            </a:p>
          </p:txBody>
        </p:sp>
      </p:grpSp>
      <p:sp>
        <p:nvSpPr>
          <p:cNvPr id="91" name="Text Box 9"/>
          <p:cNvSpPr txBox="1">
            <a:spLocks noChangeArrowheads="1"/>
          </p:cNvSpPr>
          <p:nvPr/>
        </p:nvSpPr>
        <p:spPr bwMode="auto">
          <a:xfrm>
            <a:off x="1598166" y="1079820"/>
            <a:ext cx="3608388" cy="98344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92" name="Gruppieren 63"/>
          <p:cNvGrpSpPr/>
          <p:nvPr/>
        </p:nvGrpSpPr>
        <p:grpSpPr>
          <a:xfrm>
            <a:off x="5292024" y="1503505"/>
            <a:ext cx="1063662" cy="243967"/>
            <a:chOff x="5605463" y="2551762"/>
            <a:chExt cx="2339975" cy="295200"/>
          </a:xfrm>
          <a:solidFill>
            <a:srgbClr val="CCCDD0"/>
          </a:solidFill>
        </p:grpSpPr>
        <p:sp>
          <p:nvSpPr>
            <p:cNvPr id="93" name="Freeform 15"/>
            <p:cNvSpPr>
              <a:spLocks/>
            </p:cNvSpPr>
            <p:nvPr/>
          </p:nvSpPr>
          <p:spPr bwMode="auto">
            <a:xfrm>
              <a:off x="5605463" y="2551762"/>
              <a:ext cx="2339975" cy="295200"/>
            </a:xfrm>
            <a:custGeom>
              <a:avLst/>
              <a:gdLst>
                <a:gd name="T0" fmla="*/ 885 w 1001"/>
                <a:gd name="T1" fmla="*/ 0 h 289"/>
                <a:gd name="T2" fmla="*/ 0 w 1001"/>
                <a:gd name="T3" fmla="*/ 0 h 289"/>
                <a:gd name="T4" fmla="*/ 0 w 1001"/>
                <a:gd name="T5" fmla="*/ 289 h 289"/>
                <a:gd name="T6" fmla="*/ 885 w 1001"/>
                <a:gd name="T7" fmla="*/ 289 h 289"/>
                <a:gd name="T8" fmla="*/ 1001 w 1001"/>
                <a:gd name="T9" fmla="*/ 144 h 289"/>
                <a:gd name="T10" fmla="*/ 885 w 1001"/>
                <a:gd name="T11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1" h="289">
                  <a:moveTo>
                    <a:pt x="885" y="0"/>
                  </a:moveTo>
                  <a:lnTo>
                    <a:pt x="0" y="0"/>
                  </a:lnTo>
                  <a:lnTo>
                    <a:pt x="0" y="289"/>
                  </a:lnTo>
                  <a:lnTo>
                    <a:pt x="885" y="289"/>
                  </a:lnTo>
                  <a:lnTo>
                    <a:pt x="1001" y="144"/>
                  </a:lnTo>
                  <a:lnTo>
                    <a:pt x="885" y="0"/>
                  </a:lnTo>
                  <a:close/>
                </a:path>
              </a:pathLst>
            </a:custGeom>
            <a:grpFill/>
            <a:ln w="8001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endParaRPr>
            </a:p>
          </p:txBody>
        </p:sp>
        <p:sp>
          <p:nvSpPr>
            <p:cNvPr id="94" name="Rectangle 16"/>
            <p:cNvSpPr>
              <a:spLocks noChangeArrowheads="1"/>
            </p:cNvSpPr>
            <p:nvPr/>
          </p:nvSpPr>
          <p:spPr bwMode="auto">
            <a:xfrm>
              <a:off x="5870324" y="2585645"/>
              <a:ext cx="892777" cy="22743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Timeline</a:t>
              </a:r>
            </a:p>
          </p:txBody>
        </p:sp>
      </p:grpSp>
      <p:sp>
        <p:nvSpPr>
          <p:cNvPr id="95" name="Text Box 17"/>
          <p:cNvSpPr txBox="1">
            <a:spLocks noChangeArrowheads="1"/>
          </p:cNvSpPr>
          <p:nvPr/>
        </p:nvSpPr>
        <p:spPr bwMode="auto">
          <a:xfrm>
            <a:off x="6441082" y="1503947"/>
            <a:ext cx="2630994" cy="24271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38893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Times New Roman" pitchFamily="18" charset="0"/>
              <a:buNone/>
              <a:tabLst>
                <a:tab pos="0" algn="l"/>
                <a:tab pos="990600" algn="r"/>
              </a:tabLst>
              <a:defRPr/>
            </a:pPr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5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96" name="Gruppieren 68"/>
          <p:cNvGrpSpPr/>
          <p:nvPr/>
        </p:nvGrpSpPr>
        <p:grpSpPr>
          <a:xfrm>
            <a:off x="5291990" y="1851211"/>
            <a:ext cx="1063655" cy="576523"/>
            <a:chOff x="5605463" y="2551762"/>
            <a:chExt cx="2339975" cy="295200"/>
          </a:xfrm>
          <a:solidFill>
            <a:srgbClr val="CCCDD0"/>
          </a:solidFill>
        </p:grpSpPr>
        <p:sp>
          <p:nvSpPr>
            <p:cNvPr id="97" name="Freeform 15"/>
            <p:cNvSpPr>
              <a:spLocks/>
            </p:cNvSpPr>
            <p:nvPr/>
          </p:nvSpPr>
          <p:spPr bwMode="auto">
            <a:xfrm>
              <a:off x="5605463" y="2551762"/>
              <a:ext cx="2339975" cy="295200"/>
            </a:xfrm>
            <a:custGeom>
              <a:avLst/>
              <a:gdLst>
                <a:gd name="T0" fmla="*/ 885 w 1001"/>
                <a:gd name="T1" fmla="*/ 0 h 289"/>
                <a:gd name="T2" fmla="*/ 0 w 1001"/>
                <a:gd name="T3" fmla="*/ 0 h 289"/>
                <a:gd name="T4" fmla="*/ 0 w 1001"/>
                <a:gd name="T5" fmla="*/ 289 h 289"/>
                <a:gd name="T6" fmla="*/ 885 w 1001"/>
                <a:gd name="T7" fmla="*/ 289 h 289"/>
                <a:gd name="T8" fmla="*/ 1001 w 1001"/>
                <a:gd name="T9" fmla="*/ 144 h 289"/>
                <a:gd name="T10" fmla="*/ 885 w 1001"/>
                <a:gd name="T11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1" h="289">
                  <a:moveTo>
                    <a:pt x="885" y="0"/>
                  </a:moveTo>
                  <a:lnTo>
                    <a:pt x="0" y="0"/>
                  </a:lnTo>
                  <a:lnTo>
                    <a:pt x="0" y="289"/>
                  </a:lnTo>
                  <a:lnTo>
                    <a:pt x="885" y="289"/>
                  </a:lnTo>
                  <a:lnTo>
                    <a:pt x="1001" y="144"/>
                  </a:lnTo>
                  <a:lnTo>
                    <a:pt x="885" y="0"/>
                  </a:lnTo>
                  <a:close/>
                </a:path>
              </a:pathLst>
            </a:custGeom>
            <a:grpFill/>
            <a:ln w="8001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endParaRPr>
            </a:p>
          </p:txBody>
        </p:sp>
        <p:sp>
          <p:nvSpPr>
            <p:cNvPr id="98" name="Rectangle 16"/>
            <p:cNvSpPr>
              <a:spLocks noChangeArrowheads="1"/>
            </p:cNvSpPr>
            <p:nvPr/>
          </p:nvSpPr>
          <p:spPr bwMode="auto">
            <a:xfrm>
              <a:off x="5950413" y="2664814"/>
              <a:ext cx="1623523" cy="650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Link to </a:t>
              </a:r>
            </a:p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strategy</a:t>
              </a:r>
            </a:p>
          </p:txBody>
        </p:sp>
      </p:grpSp>
      <p:sp>
        <p:nvSpPr>
          <p:cNvPr id="99" name="Text Box 17"/>
          <p:cNvSpPr txBox="1">
            <a:spLocks noChangeArrowheads="1"/>
          </p:cNvSpPr>
          <p:nvPr/>
        </p:nvSpPr>
        <p:spPr bwMode="auto">
          <a:xfrm>
            <a:off x="6441082" y="1851110"/>
            <a:ext cx="2630994" cy="57596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 marL="171450" indent="-17145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Arial" charset="0"/>
              <a:buChar char="•"/>
              <a:tabLst>
                <a:tab pos="0" algn="l"/>
                <a:tab pos="990600" algn="r"/>
              </a:tabLst>
              <a:defRPr/>
            </a:pPr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5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100" name="Gruppieren 72"/>
          <p:cNvGrpSpPr/>
          <p:nvPr/>
        </p:nvGrpSpPr>
        <p:grpSpPr>
          <a:xfrm>
            <a:off x="5298075" y="2571750"/>
            <a:ext cx="1063651" cy="984037"/>
            <a:chOff x="5605463" y="2551762"/>
            <a:chExt cx="2339975" cy="295200"/>
          </a:xfrm>
          <a:solidFill>
            <a:srgbClr val="CCCDD0"/>
          </a:solidFill>
        </p:grpSpPr>
        <p:sp>
          <p:nvSpPr>
            <p:cNvPr id="101" name="Freeform 15"/>
            <p:cNvSpPr>
              <a:spLocks/>
            </p:cNvSpPr>
            <p:nvPr/>
          </p:nvSpPr>
          <p:spPr bwMode="auto">
            <a:xfrm>
              <a:off x="5605463" y="2551762"/>
              <a:ext cx="2339975" cy="295200"/>
            </a:xfrm>
            <a:custGeom>
              <a:avLst/>
              <a:gdLst>
                <a:gd name="T0" fmla="*/ 885 w 1001"/>
                <a:gd name="T1" fmla="*/ 0 h 289"/>
                <a:gd name="T2" fmla="*/ 0 w 1001"/>
                <a:gd name="T3" fmla="*/ 0 h 289"/>
                <a:gd name="T4" fmla="*/ 0 w 1001"/>
                <a:gd name="T5" fmla="*/ 289 h 289"/>
                <a:gd name="T6" fmla="*/ 885 w 1001"/>
                <a:gd name="T7" fmla="*/ 289 h 289"/>
                <a:gd name="T8" fmla="*/ 1001 w 1001"/>
                <a:gd name="T9" fmla="*/ 144 h 289"/>
                <a:gd name="T10" fmla="*/ 885 w 1001"/>
                <a:gd name="T11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1" h="289">
                  <a:moveTo>
                    <a:pt x="885" y="0"/>
                  </a:moveTo>
                  <a:lnTo>
                    <a:pt x="0" y="0"/>
                  </a:lnTo>
                  <a:lnTo>
                    <a:pt x="0" y="289"/>
                  </a:lnTo>
                  <a:lnTo>
                    <a:pt x="885" y="289"/>
                  </a:lnTo>
                  <a:lnTo>
                    <a:pt x="1001" y="144"/>
                  </a:lnTo>
                  <a:lnTo>
                    <a:pt x="885" y="0"/>
                  </a:lnTo>
                  <a:close/>
                </a:path>
              </a:pathLst>
            </a:custGeom>
            <a:grpFill/>
            <a:ln w="8001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endParaRPr>
            </a:p>
          </p:txBody>
        </p:sp>
        <p:sp>
          <p:nvSpPr>
            <p:cNvPr id="102" name="Rectangle 16"/>
            <p:cNvSpPr>
              <a:spLocks noChangeArrowheads="1"/>
            </p:cNvSpPr>
            <p:nvPr/>
          </p:nvSpPr>
          <p:spPr bwMode="auto">
            <a:xfrm>
              <a:off x="5755278" y="2664814"/>
              <a:ext cx="714058" cy="650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Team</a:t>
              </a:r>
            </a:p>
          </p:txBody>
        </p:sp>
      </p:grpSp>
      <p:sp>
        <p:nvSpPr>
          <p:cNvPr id="103" name="Text Box 17"/>
          <p:cNvSpPr txBox="1">
            <a:spLocks noChangeArrowheads="1"/>
          </p:cNvSpPr>
          <p:nvPr/>
        </p:nvSpPr>
        <p:spPr bwMode="auto">
          <a:xfrm>
            <a:off x="6447432" y="2572517"/>
            <a:ext cx="2630994" cy="98344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38893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0000"/>
              <a:buFontTx/>
              <a:buNone/>
              <a:tabLst>
                <a:tab pos="0" algn="l"/>
                <a:tab pos="990600" algn="r"/>
              </a:tabLst>
              <a:defRPr/>
            </a:pPr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5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104" name="Gruppieren 72"/>
          <p:cNvGrpSpPr/>
          <p:nvPr/>
        </p:nvGrpSpPr>
        <p:grpSpPr>
          <a:xfrm>
            <a:off x="5298075" y="3671262"/>
            <a:ext cx="1063651" cy="984038"/>
            <a:chOff x="5605463" y="2551759"/>
            <a:chExt cx="2339975" cy="295200"/>
          </a:xfrm>
          <a:solidFill>
            <a:srgbClr val="CCCDD0"/>
          </a:solidFill>
        </p:grpSpPr>
        <p:sp>
          <p:nvSpPr>
            <p:cNvPr id="105" name="Freeform 15"/>
            <p:cNvSpPr>
              <a:spLocks/>
            </p:cNvSpPr>
            <p:nvPr/>
          </p:nvSpPr>
          <p:spPr bwMode="auto">
            <a:xfrm>
              <a:off x="5605463" y="2551759"/>
              <a:ext cx="2339975" cy="295200"/>
            </a:xfrm>
            <a:custGeom>
              <a:avLst/>
              <a:gdLst>
                <a:gd name="T0" fmla="*/ 885 w 1001"/>
                <a:gd name="T1" fmla="*/ 0 h 289"/>
                <a:gd name="T2" fmla="*/ 0 w 1001"/>
                <a:gd name="T3" fmla="*/ 0 h 289"/>
                <a:gd name="T4" fmla="*/ 0 w 1001"/>
                <a:gd name="T5" fmla="*/ 289 h 289"/>
                <a:gd name="T6" fmla="*/ 885 w 1001"/>
                <a:gd name="T7" fmla="*/ 289 h 289"/>
                <a:gd name="T8" fmla="*/ 1001 w 1001"/>
                <a:gd name="T9" fmla="*/ 144 h 289"/>
                <a:gd name="T10" fmla="*/ 885 w 1001"/>
                <a:gd name="T11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1" h="289">
                  <a:moveTo>
                    <a:pt x="885" y="0"/>
                  </a:moveTo>
                  <a:lnTo>
                    <a:pt x="0" y="0"/>
                  </a:lnTo>
                  <a:lnTo>
                    <a:pt x="0" y="289"/>
                  </a:lnTo>
                  <a:lnTo>
                    <a:pt x="885" y="289"/>
                  </a:lnTo>
                  <a:lnTo>
                    <a:pt x="1001" y="144"/>
                  </a:lnTo>
                  <a:lnTo>
                    <a:pt x="885" y="0"/>
                  </a:lnTo>
                  <a:close/>
                </a:path>
              </a:pathLst>
            </a:custGeom>
            <a:grpFill/>
            <a:ln w="8001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endParaRPr>
            </a:p>
          </p:txBody>
        </p:sp>
        <p:sp>
          <p:nvSpPr>
            <p:cNvPr id="106" name="Rectangle 16"/>
            <p:cNvSpPr>
              <a:spLocks noChangeArrowheads="1"/>
            </p:cNvSpPr>
            <p:nvPr/>
          </p:nvSpPr>
          <p:spPr bwMode="auto">
            <a:xfrm>
              <a:off x="5755277" y="2664813"/>
              <a:ext cx="714058" cy="650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Steering </a:t>
              </a:r>
            </a:p>
            <a:p>
              <a:pPr marL="0" marR="0" lvl="0" indent="0" algn="l" defTabSz="388938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D7A00"/>
                </a:buClr>
                <a:buSzPct val="80000"/>
                <a:buFont typeface="Times New Roman" pitchFamily="18" charset="0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/>
                </a:rPr>
                <a:t>Committee</a:t>
              </a:r>
            </a:p>
          </p:txBody>
        </p:sp>
      </p:grpSp>
      <p:sp>
        <p:nvSpPr>
          <p:cNvPr id="107" name="Text Box 17"/>
          <p:cNvSpPr txBox="1">
            <a:spLocks noChangeArrowheads="1"/>
          </p:cNvSpPr>
          <p:nvPr/>
        </p:nvSpPr>
        <p:spPr bwMode="auto">
          <a:xfrm>
            <a:off x="6447432" y="3672030"/>
            <a:ext cx="2630994" cy="98344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tabLst>
                <a:tab pos="0" algn="l"/>
                <a:tab pos="9906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38893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0000"/>
              <a:buFontTx/>
              <a:buNone/>
              <a:tabLst>
                <a:tab pos="0" algn="l"/>
                <a:tab pos="990600" algn="r"/>
              </a:tabLst>
              <a:defRPr/>
            </a:pPr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5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08" name="Título 1"/>
          <p:cNvSpPr txBox="1">
            <a:spLocks/>
          </p:cNvSpPr>
          <p:nvPr/>
        </p:nvSpPr>
        <p:spPr>
          <a:xfrm>
            <a:off x="251520" y="403027"/>
            <a:ext cx="6331926" cy="440531"/>
          </a:xfrm>
          <a:prstGeom prst="rect">
            <a:avLst/>
          </a:prstGeom>
        </p:spPr>
        <p:txBody>
          <a:bodyPr lIns="77925" tIns="38963" rIns="77925" bIns="38963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roject Charter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6437111"/>
      </p:ext>
    </p:extLst>
  </p:cSld>
  <p:clrMapOvr>
    <a:masterClrMapping/>
  </p:clrMapOvr>
  <p:transition advClick="0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468104D9-6125-4B4A-90FA-6466E048AA55}"/>
              </a:ext>
            </a:extLst>
          </p:cNvPr>
          <p:cNvSpPr txBox="1"/>
          <p:nvPr/>
        </p:nvSpPr>
        <p:spPr>
          <a:xfrm>
            <a:off x="1709316" y="411510"/>
            <a:ext cx="604867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000" b="1" dirty="0"/>
              <a:t>O que é um</a:t>
            </a:r>
          </a:p>
          <a:p>
            <a:pPr algn="ctr"/>
            <a:endParaRPr lang="pt-BR" sz="6000" b="1" dirty="0"/>
          </a:p>
          <a:p>
            <a:pPr algn="ctr"/>
            <a:endParaRPr lang="pt-BR" sz="6000" b="1" dirty="0"/>
          </a:p>
          <a:p>
            <a:pPr algn="ctr"/>
            <a:r>
              <a:rPr lang="pt-BR" sz="6000" b="1" dirty="0"/>
              <a:t>PROJETO ?</a:t>
            </a:r>
          </a:p>
        </p:txBody>
      </p:sp>
    </p:spTree>
    <p:extLst>
      <p:ext uri="{BB962C8B-B14F-4D97-AF65-F5344CB8AC3E}">
        <p14:creationId xmlns:p14="http://schemas.microsoft.com/office/powerpoint/2010/main" val="41057804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ases da gestão de projeto</a:t>
            </a:r>
          </a:p>
        </p:txBody>
      </p:sp>
      <p:sp>
        <p:nvSpPr>
          <p:cNvPr id="3" name="Seta: Pentágono 2">
            <a:extLst>
              <a:ext uri="{FF2B5EF4-FFF2-40B4-BE49-F238E27FC236}">
                <a16:creationId xmlns:a16="http://schemas.microsoft.com/office/drawing/2014/main" id="{4E6AC1C4-8748-4C39-8EF7-921603E45E8D}"/>
              </a:ext>
            </a:extLst>
          </p:cNvPr>
          <p:cNvSpPr/>
          <p:nvPr/>
        </p:nvSpPr>
        <p:spPr>
          <a:xfrm>
            <a:off x="7232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Iniciação</a:t>
            </a:r>
          </a:p>
        </p:txBody>
      </p:sp>
      <p:sp>
        <p:nvSpPr>
          <p:cNvPr id="7" name="Seta: Pentágono 6">
            <a:extLst>
              <a:ext uri="{FF2B5EF4-FFF2-40B4-BE49-F238E27FC236}">
                <a16:creationId xmlns:a16="http://schemas.microsoft.com/office/drawing/2014/main" id="{3B370224-712D-4D03-BC2A-C576A2EC3FED}"/>
              </a:ext>
            </a:extLst>
          </p:cNvPr>
          <p:cNvSpPr/>
          <p:nvPr/>
        </p:nvSpPr>
        <p:spPr>
          <a:xfrm>
            <a:off x="189996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lanejamento</a:t>
            </a:r>
          </a:p>
        </p:txBody>
      </p:sp>
      <p:sp>
        <p:nvSpPr>
          <p:cNvPr id="9" name="Seta: Pentágono 8">
            <a:extLst>
              <a:ext uri="{FF2B5EF4-FFF2-40B4-BE49-F238E27FC236}">
                <a16:creationId xmlns:a16="http://schemas.microsoft.com/office/drawing/2014/main" id="{44C70F2F-1F97-490C-919E-5EF0A64EA28A}"/>
              </a:ext>
            </a:extLst>
          </p:cNvPr>
          <p:cNvSpPr/>
          <p:nvPr/>
        </p:nvSpPr>
        <p:spPr>
          <a:xfrm>
            <a:off x="372760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xecução</a:t>
            </a:r>
          </a:p>
        </p:txBody>
      </p:sp>
      <p:sp>
        <p:nvSpPr>
          <p:cNvPr id="10" name="Seta: Pentágono 9">
            <a:extLst>
              <a:ext uri="{FF2B5EF4-FFF2-40B4-BE49-F238E27FC236}">
                <a16:creationId xmlns:a16="http://schemas.microsoft.com/office/drawing/2014/main" id="{3C767181-78B6-48D0-8DC3-B7F3A1616E4F}"/>
              </a:ext>
            </a:extLst>
          </p:cNvPr>
          <p:cNvSpPr/>
          <p:nvPr/>
        </p:nvSpPr>
        <p:spPr>
          <a:xfrm>
            <a:off x="555524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onitoramento e controle</a:t>
            </a:r>
          </a:p>
        </p:txBody>
      </p:sp>
      <p:sp>
        <p:nvSpPr>
          <p:cNvPr id="11" name="Seta: Pentágono 10">
            <a:extLst>
              <a:ext uri="{FF2B5EF4-FFF2-40B4-BE49-F238E27FC236}">
                <a16:creationId xmlns:a16="http://schemas.microsoft.com/office/drawing/2014/main" id="{73B87327-0C1F-4A32-BD58-342C22D4337E}"/>
              </a:ext>
            </a:extLst>
          </p:cNvPr>
          <p:cNvSpPr/>
          <p:nvPr/>
        </p:nvSpPr>
        <p:spPr>
          <a:xfrm>
            <a:off x="738288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ncerramento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5E35CFF4-BF72-4966-B692-0AEB7C8B4856}"/>
              </a:ext>
            </a:extLst>
          </p:cNvPr>
          <p:cNvSpPr/>
          <p:nvPr/>
        </p:nvSpPr>
        <p:spPr>
          <a:xfrm>
            <a:off x="72328" y="2283718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AP / Project Charter</a:t>
            </a:r>
          </a:p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9924661E-2864-4562-87DA-22A4C5D3BC85}"/>
              </a:ext>
            </a:extLst>
          </p:cNvPr>
          <p:cNvSpPr/>
          <p:nvPr/>
        </p:nvSpPr>
        <p:spPr>
          <a:xfrm>
            <a:off x="1899967" y="2417795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AP</a:t>
            </a: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lano de riscos</a:t>
            </a: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lano de comunicação</a:t>
            </a:r>
          </a:p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ronograma</a:t>
            </a: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Kickoff</a:t>
            </a: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meeting</a:t>
            </a:r>
          </a:p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36EB86FF-0DFC-4CDD-989F-D0CDF28E9BB7}"/>
              </a:ext>
            </a:extLst>
          </p:cNvPr>
          <p:cNvSpPr/>
          <p:nvPr/>
        </p:nvSpPr>
        <p:spPr>
          <a:xfrm>
            <a:off x="3727606" y="2283718"/>
            <a:ext cx="3491027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lterações de escopo</a:t>
            </a: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lteração de cronograma</a:t>
            </a: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icas de acompanhamento</a:t>
            </a:r>
          </a:p>
        </p:txBody>
      </p: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D372310A-0021-4076-8894-3BAFB021FC77}"/>
              </a:ext>
            </a:extLst>
          </p:cNvPr>
          <p:cNvSpPr/>
          <p:nvPr/>
        </p:nvSpPr>
        <p:spPr>
          <a:xfrm>
            <a:off x="7382884" y="2283718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Resultados obtidos</a:t>
            </a: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ições aprendidas</a:t>
            </a: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Reunião de fechamento</a:t>
            </a: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marR="0" lvl="0" indent="-28575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elebration</a:t>
            </a: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BFF8AC44-1E67-4DC3-A26A-91ED5E799FCC}"/>
              </a:ext>
            </a:extLst>
          </p:cNvPr>
          <p:cNvSpPr/>
          <p:nvPr/>
        </p:nvSpPr>
        <p:spPr>
          <a:xfrm>
            <a:off x="119148" y="1075780"/>
            <a:ext cx="387795" cy="38779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FABA0406-66C2-4427-A000-CDD838F17162}"/>
              </a:ext>
            </a:extLst>
          </p:cNvPr>
          <p:cNvSpPr/>
          <p:nvPr/>
        </p:nvSpPr>
        <p:spPr>
          <a:xfrm>
            <a:off x="1942096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8411B5C1-908D-4A96-9569-A23EB0C51FD4}"/>
              </a:ext>
            </a:extLst>
          </p:cNvPr>
          <p:cNvSpPr/>
          <p:nvPr/>
        </p:nvSpPr>
        <p:spPr>
          <a:xfrm>
            <a:off x="3789458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3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CABC980C-A1F3-46B4-BEEE-0FD343EAD2CF}"/>
              </a:ext>
            </a:extLst>
          </p:cNvPr>
          <p:cNvSpPr/>
          <p:nvPr/>
        </p:nvSpPr>
        <p:spPr>
          <a:xfrm>
            <a:off x="5586173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4</a:t>
            </a: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3D2A14C4-8B38-496F-A164-94AD07693C1E}"/>
              </a:ext>
            </a:extLst>
          </p:cNvPr>
          <p:cNvSpPr/>
          <p:nvPr/>
        </p:nvSpPr>
        <p:spPr>
          <a:xfrm>
            <a:off x="7413813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5</a:t>
            </a:r>
          </a:p>
        </p:txBody>
      </p:sp>
      <p:sp>
        <p:nvSpPr>
          <p:cNvPr id="2" name="Left Brace 1"/>
          <p:cNvSpPr/>
          <p:nvPr/>
        </p:nvSpPr>
        <p:spPr>
          <a:xfrm rot="5400000">
            <a:off x="1691917" y="-277854"/>
            <a:ext cx="121940" cy="2613890"/>
          </a:xfrm>
          <a:prstGeom prst="leftBrace">
            <a:avLst>
              <a:gd name="adj1" fmla="val 16500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368005" y="683737"/>
            <a:ext cx="769763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scopo</a:t>
            </a:r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54D4057B-93B3-4403-A6FF-C042312F5005}"/>
              </a:ext>
            </a:extLst>
          </p:cNvPr>
          <p:cNvSpPr/>
          <p:nvPr/>
        </p:nvSpPr>
        <p:spPr>
          <a:xfrm>
            <a:off x="72328" y="2283718"/>
            <a:ext cx="3491027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9D89A601-9AE5-44BC-AC65-46CAB8949ED8}"/>
              </a:ext>
            </a:extLst>
          </p:cNvPr>
          <p:cNvSpPr/>
          <p:nvPr/>
        </p:nvSpPr>
        <p:spPr>
          <a:xfrm>
            <a:off x="3727606" y="1050380"/>
            <a:ext cx="5416394" cy="3944242"/>
          </a:xfrm>
          <a:prstGeom prst="rect">
            <a:avLst/>
          </a:prstGeom>
          <a:solidFill>
            <a:srgbClr val="FBFBFB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7A3BCC4D-E465-4E25-9EEF-9FB322E50638}"/>
              </a:ext>
            </a:extLst>
          </p:cNvPr>
          <p:cNvSpPr/>
          <p:nvPr/>
        </p:nvSpPr>
        <p:spPr>
          <a:xfrm>
            <a:off x="52170" y="1070258"/>
            <a:ext cx="1725671" cy="3944242"/>
          </a:xfrm>
          <a:prstGeom prst="rect">
            <a:avLst/>
          </a:prstGeom>
          <a:solidFill>
            <a:srgbClr val="FBFBFB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64626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 descr="Disco">
            <a:hlinkClick r:id="rId3" action="ppaction://hlinkfile"/>
            <a:extLst>
              <a:ext uri="{FF2B5EF4-FFF2-40B4-BE49-F238E27FC236}">
                <a16:creationId xmlns:a16="http://schemas.microsoft.com/office/drawing/2014/main" id="{B50104AF-55BA-4287-830F-31C6F902BE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563888" y="1563638"/>
            <a:ext cx="1681336" cy="1681336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F14C5208-EAF6-4F9E-B063-4E8CD1093995}"/>
              </a:ext>
            </a:extLst>
          </p:cNvPr>
          <p:cNvSpPr/>
          <p:nvPr/>
        </p:nvSpPr>
        <p:spPr>
          <a:xfrm>
            <a:off x="3046582" y="3244974"/>
            <a:ext cx="305083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/>
              <a:t>https://www.youtube.com/watch?v=s0al-XJRBto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B5BC2DFA-4A54-4E99-AB5E-1F97414ABEED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lanejar é preciso</a:t>
            </a:r>
          </a:p>
        </p:txBody>
      </p:sp>
    </p:spTree>
    <p:extLst>
      <p:ext uri="{BB962C8B-B14F-4D97-AF65-F5344CB8AC3E}">
        <p14:creationId xmlns:p14="http://schemas.microsoft.com/office/powerpoint/2010/main" val="341317554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8039970-0DAF-49F7-B7B3-13367EC0BF69}"/>
              </a:ext>
            </a:extLst>
          </p:cNvPr>
          <p:cNvSpPr txBox="1">
            <a:spLocks/>
          </p:cNvSpPr>
          <p:nvPr/>
        </p:nvSpPr>
        <p:spPr bwMode="auto">
          <a:xfrm>
            <a:off x="899865" y="1131094"/>
            <a:ext cx="7307262" cy="2881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l" rtl="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 typeface="Times" charset="0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4938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333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333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7913" indent="-134938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16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5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074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503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lnSpc>
                <a:spcPct val="200000"/>
              </a:lnSpc>
              <a:spcBef>
                <a:spcPts val="1200"/>
              </a:spcBef>
              <a:spcAft>
                <a:spcPts val="1200"/>
              </a:spcAft>
              <a:buFontTx/>
              <a:buNone/>
            </a:pPr>
            <a:r>
              <a:rPr lang="pt-BR" altLang="pt-BR" sz="3600" b="1" kern="0" dirty="0">
                <a:solidFill>
                  <a:srgbClr val="000000"/>
                </a:solidFill>
                <a:latin typeface="Verdana" panose="020B0604030504040204" pitchFamily="34" charset="0"/>
              </a:rPr>
              <a:t>Quem falha ao planejar...</a:t>
            </a:r>
          </a:p>
          <a:p>
            <a:pPr algn="ctr" defTabSz="914400">
              <a:lnSpc>
                <a:spcPct val="200000"/>
              </a:lnSpc>
              <a:spcBef>
                <a:spcPts val="1200"/>
              </a:spcBef>
              <a:spcAft>
                <a:spcPts val="1200"/>
              </a:spcAft>
              <a:buFontTx/>
              <a:buNone/>
            </a:pPr>
            <a:r>
              <a:rPr lang="pt-BR" altLang="pt-BR" sz="3600" b="1" kern="0" dirty="0">
                <a:solidFill>
                  <a:srgbClr val="000000"/>
                </a:solidFill>
                <a:latin typeface="Verdana" panose="020B0604030504040204" pitchFamily="34" charset="0"/>
              </a:rPr>
              <a:t>na verdade, planeja falhar!!!</a:t>
            </a:r>
          </a:p>
        </p:txBody>
      </p:sp>
    </p:spTree>
    <p:extLst>
      <p:ext uri="{BB962C8B-B14F-4D97-AF65-F5344CB8AC3E}">
        <p14:creationId xmlns:p14="http://schemas.microsoft.com/office/powerpoint/2010/main" val="4265398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2DCA446D-99D9-4F0C-97FD-DD223A14B1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512" y="843559"/>
            <a:ext cx="8784976" cy="2376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rtl="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 typeface="Times" charset="0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4938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333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333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7913" indent="-134938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16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5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074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503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3538" lvl="2" indent="-363538" defTabSz="914400">
              <a:lnSpc>
                <a:spcPts val="31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tabLst>
                <a:tab pos="177800" algn="l"/>
              </a:tabLst>
            </a:pPr>
            <a:r>
              <a:rPr lang="pt-BR" altLang="pt-BR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ine que você tem uma lista com 40 itens para comprar no supermercado onde faz compras habitualmente;</a:t>
            </a:r>
          </a:p>
          <a:p>
            <a:pPr marL="363538" lvl="2" indent="-363538" defTabSz="914400">
              <a:lnSpc>
                <a:spcPts val="31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tabLst>
                <a:tab pos="177800" algn="l"/>
              </a:tabLst>
            </a:pPr>
            <a:r>
              <a:rPr lang="pt-BR" altLang="pt-BR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geral, a lista é desorganizada, o que o leva a gastar demasiado tempo indo e vindo na loja;</a:t>
            </a:r>
          </a:p>
          <a:p>
            <a:pPr marL="363538" lvl="2" indent="-363538" defTabSz="914400">
              <a:lnSpc>
                <a:spcPts val="31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tabLst>
                <a:tab pos="177800" algn="l"/>
              </a:tabLst>
            </a:pPr>
            <a:r>
              <a:rPr lang="pt-BR" altLang="pt-BR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 poderia otimizar essa lista?</a:t>
            </a:r>
          </a:p>
        </p:txBody>
      </p:sp>
      <p:sp>
        <p:nvSpPr>
          <p:cNvPr id="4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o você organiza uma lista de itens ?</a:t>
            </a:r>
          </a:p>
        </p:txBody>
      </p:sp>
      <p:sp>
        <p:nvSpPr>
          <p:cNvPr id="5" name="Rectangle 4"/>
          <p:cNvSpPr/>
          <p:nvPr/>
        </p:nvSpPr>
        <p:spPr>
          <a:xfrm>
            <a:off x="35496" y="3147814"/>
            <a:ext cx="7943869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defTabSz="914400">
              <a:lnSpc>
                <a:spcPts val="3100"/>
              </a:lnSpc>
              <a:spcBef>
                <a:spcPts val="300"/>
              </a:spcBef>
              <a:spcAft>
                <a:spcPts val="300"/>
              </a:spcAft>
              <a:tabLst>
                <a:tab pos="177800" algn="l"/>
              </a:tabLst>
            </a:pPr>
            <a:r>
              <a:rPr lang="pt-BR" altLang="pt-BR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ções: </a:t>
            </a:r>
          </a:p>
          <a:p>
            <a:pPr marL="806450" lvl="3" indent="-268288" defTabSz="914400">
              <a:lnSpc>
                <a:spcPts val="31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77800" algn="l"/>
              </a:tabLst>
            </a:pPr>
            <a:r>
              <a:rPr lang="pt-BR" altLang="pt-BR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r por tipo de produto;</a:t>
            </a:r>
          </a:p>
          <a:p>
            <a:pPr marL="806450" lvl="3" indent="-268288" defTabSz="914400">
              <a:lnSpc>
                <a:spcPts val="31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77800" algn="l"/>
              </a:tabLst>
            </a:pPr>
            <a:r>
              <a:rPr lang="pt-BR" altLang="pt-BR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r pelo </a:t>
            </a:r>
            <a:r>
              <a:rPr lang="pt-BR" altLang="pt-BR" sz="1600" i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pt-BR" altLang="pt-BR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 loja;</a:t>
            </a:r>
          </a:p>
        </p:txBody>
      </p:sp>
      <p:sp>
        <p:nvSpPr>
          <p:cNvPr id="6" name="Rectangle 5"/>
          <p:cNvSpPr/>
          <p:nvPr/>
        </p:nvSpPr>
        <p:spPr>
          <a:xfrm>
            <a:off x="43880" y="4622075"/>
            <a:ext cx="7164288" cy="4489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defTabSz="914400">
              <a:lnSpc>
                <a:spcPts val="3100"/>
              </a:lnSpc>
              <a:spcBef>
                <a:spcPts val="300"/>
              </a:spcBef>
              <a:spcAft>
                <a:spcPts val="300"/>
              </a:spcAft>
              <a:tabLst>
                <a:tab pos="177800" algn="l"/>
              </a:tabLst>
            </a:pPr>
            <a:r>
              <a:rPr lang="pt-BR" altLang="pt-BR" sz="2000" kern="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to é EAP - Estrutura Analítica do Projeto.</a:t>
            </a:r>
          </a:p>
        </p:txBody>
      </p:sp>
      <p:pic>
        <p:nvPicPr>
          <p:cNvPr id="23554" name="Picture 2" descr="Resultado de imagem para time">
            <a:extLst>
              <a:ext uri="{FF2B5EF4-FFF2-40B4-BE49-F238E27FC236}">
                <a16:creationId xmlns:a16="http://schemas.microsoft.com/office/drawing/2014/main" id="{32A85906-3CD6-4B38-8041-8E40E6D950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2615691"/>
            <a:ext cx="2950693" cy="1983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0216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5" grpId="0"/>
      <p:bldP spid="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AP / WBS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7B9F567-4AC8-414E-90EA-4E30B433199B}"/>
              </a:ext>
            </a:extLst>
          </p:cNvPr>
          <p:cNvSpPr txBox="1"/>
          <p:nvPr/>
        </p:nvSpPr>
        <p:spPr>
          <a:xfrm>
            <a:off x="178190" y="1329561"/>
            <a:ext cx="770617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EAP = Estrutura Analítica do Projeto</a:t>
            </a:r>
          </a:p>
          <a:p>
            <a:endParaRPr lang="pt-BR" sz="28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WBS = </a:t>
            </a:r>
            <a:r>
              <a:rPr lang="pt-BR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WorWork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pt-BR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Breakdown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pt-BR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Structure</a:t>
            </a:r>
            <a:r>
              <a:rPr lang="pt-BR" sz="28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4819AD16-2340-41BF-901A-24B3B65CB705}"/>
              </a:ext>
            </a:extLst>
          </p:cNvPr>
          <p:cNvSpPr/>
          <p:nvPr/>
        </p:nvSpPr>
        <p:spPr>
          <a:xfrm>
            <a:off x="313046" y="3442591"/>
            <a:ext cx="8291402" cy="785343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rata-se de uma descrição detalhada do escopo de um projeto. Registra as etapas mais importantes para entregar o resultado acertado com o cliente.</a:t>
            </a:r>
          </a:p>
        </p:txBody>
      </p:sp>
      <p:pic>
        <p:nvPicPr>
          <p:cNvPr id="25" name="Gráfico 24" descr="Documento">
            <a:extLst>
              <a:ext uri="{FF2B5EF4-FFF2-40B4-BE49-F238E27FC236}">
                <a16:creationId xmlns:a16="http://schemas.microsoft.com/office/drawing/2014/main" id="{4411F336-71C6-49FA-A039-9E028F0C5B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492181" y="4318"/>
            <a:ext cx="1338773" cy="1338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27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Resultado de imagem para EA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319" y="892416"/>
            <a:ext cx="6024479" cy="3862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5868144" y="2859782"/>
            <a:ext cx="3435012" cy="1689630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lvl="1">
              <a:lnSpc>
                <a:spcPts val="32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pt-BR" altLang="pt-BR" sz="2000" b="1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divisão</a:t>
            </a:r>
            <a:r>
              <a:rPr lang="pt-BR" altLang="pt-BR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trabalho até o nível em que se deseja controlar: </a:t>
            </a:r>
            <a:r>
              <a:rPr lang="pt-BR" altLang="pt-BR" sz="2000" b="1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otes de trabalho</a:t>
            </a:r>
            <a:r>
              <a:rPr lang="pt-BR" altLang="pt-BR" sz="2000" b="1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altLang="pt-BR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(</a:t>
            </a:r>
            <a:r>
              <a:rPr lang="pt-BR" altLang="pt-BR" sz="20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ork</a:t>
            </a:r>
            <a:r>
              <a:rPr lang="pt-BR" altLang="pt-BR" sz="2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altLang="pt-BR" sz="20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ckage</a:t>
            </a:r>
            <a:r>
              <a:rPr lang="pt-BR" altLang="pt-BR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);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511146" y="1414434"/>
            <a:ext cx="372089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altLang="pt-BR" sz="2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é quanto detalhar ???</a:t>
            </a:r>
            <a:endParaRPr lang="en-US" sz="1400" b="1" dirty="0"/>
          </a:p>
        </p:txBody>
      </p:sp>
      <p:sp>
        <p:nvSpPr>
          <p:cNvPr id="13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delo</a:t>
            </a:r>
          </a:p>
        </p:txBody>
      </p:sp>
    </p:spTree>
    <p:extLst>
      <p:ext uri="{BB962C8B-B14F-4D97-AF65-F5344CB8AC3E}">
        <p14:creationId xmlns:p14="http://schemas.microsoft.com/office/powerpoint/2010/main" val="1926955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Resultado de imagem para EAP supermercado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22" b="8349"/>
          <a:stretch/>
        </p:blipFill>
        <p:spPr bwMode="auto">
          <a:xfrm>
            <a:off x="0" y="195486"/>
            <a:ext cx="9144000" cy="4747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397365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2">
            <a:extLst>
              <a:ext uri="{FF2B5EF4-FFF2-40B4-BE49-F238E27FC236}">
                <a16:creationId xmlns:a16="http://schemas.microsoft.com/office/drawing/2014/main" id="{F8118173-32E7-4AEA-9C87-76B320E77EF4}"/>
              </a:ext>
            </a:extLst>
          </p:cNvPr>
          <p:cNvSpPr txBox="1">
            <a:spLocks/>
          </p:cNvSpPr>
          <p:nvPr/>
        </p:nvSpPr>
        <p:spPr bwMode="auto">
          <a:xfrm>
            <a:off x="179512" y="823020"/>
            <a:ext cx="8820472" cy="4269010"/>
          </a:xfrm>
          <a:prstGeom prst="rect">
            <a:avLst/>
          </a:prstGeom>
          <a:extLst/>
        </p:spPr>
        <p:txBody>
          <a:bodyPr/>
          <a:lstStyle>
            <a:lvl1pPr algn="l" rtl="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 typeface="Times" charset="0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4938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333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333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7913" indent="-134938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16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5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074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503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3538" indent="-363538" defTabSz="914400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pt-BR" altLang="pt-BR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se no projeto como um todo e escolha o critério para decompor no 1º nível:</a:t>
            </a:r>
          </a:p>
          <a:p>
            <a:pPr marL="763588" lvl="1" indent="-363538" defTabSz="914400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pt-BR" altLang="pt-BR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a cronologia é relevante, divida em fases;</a:t>
            </a:r>
          </a:p>
          <a:p>
            <a:pPr marL="763588" lvl="1" indent="-363538" defTabSz="914400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pt-BR" altLang="pt-BR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os entregáveis são importantes, use-os;</a:t>
            </a:r>
          </a:p>
          <a:p>
            <a:pPr marL="763588" lvl="1" indent="-363538" defTabSz="914400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pt-BR" altLang="pt-BR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a natureza da atividade predomina, use-a;</a:t>
            </a:r>
          </a:p>
          <a:p>
            <a:pPr marL="763588" lvl="1" indent="-363538" defTabSz="914400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pt-BR" altLang="pt-BR" sz="20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ca</a:t>
            </a:r>
            <a:r>
              <a:rPr lang="pt-BR" altLang="pt-BR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máximo de 7; adicione “Gestão”.</a:t>
            </a:r>
          </a:p>
          <a:p>
            <a:pPr defTabSz="914400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pt-BR" altLang="pt-BR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geral, 3 ou 4 níveis são suficientes para se chegar aos pacotes de trabalho. </a:t>
            </a:r>
          </a:p>
        </p:txBody>
      </p:sp>
      <p:sp>
        <p:nvSpPr>
          <p:cNvPr id="3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ca</a:t>
            </a:r>
          </a:p>
        </p:txBody>
      </p:sp>
    </p:spTree>
    <p:extLst>
      <p:ext uri="{BB962C8B-B14F-4D97-AF65-F5344CB8AC3E}">
        <p14:creationId xmlns:p14="http://schemas.microsoft.com/office/powerpoint/2010/main" val="22187496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Resultado de imagem para EAP pintar cas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91211"/>
            <a:ext cx="7898254" cy="472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539552" y="1347614"/>
            <a:ext cx="8280920" cy="130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39552" y="2651558"/>
            <a:ext cx="2304256" cy="130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2843808" y="2651558"/>
            <a:ext cx="1440160" cy="2368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4190752" y="2651558"/>
            <a:ext cx="1440160" cy="2368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5630912" y="2651558"/>
            <a:ext cx="1749400" cy="2368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868144" y="291210"/>
            <a:ext cx="2736304" cy="7683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025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C045E093-1383-41B3-A382-0A194E3A1F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7438389"/>
              </p:ext>
            </p:extLst>
          </p:nvPr>
        </p:nvGraphicFramePr>
        <p:xfrm>
          <a:off x="179512" y="267494"/>
          <a:ext cx="8676456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153396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Rectangle 3">
            <a:extLst>
              <a:ext uri="{FF2B5EF4-FFF2-40B4-BE49-F238E27FC236}">
                <a16:creationId xmlns:a16="http://schemas.microsoft.com/office/drawing/2014/main" id="{084D48F3-526E-41A3-9B88-98257764CA44}"/>
              </a:ext>
            </a:extLst>
          </p:cNvPr>
          <p:cNvSpPr txBox="1">
            <a:spLocks noChangeArrowheads="1"/>
          </p:cNvSpPr>
          <p:nvPr/>
        </p:nvSpPr>
        <p:spPr>
          <a:xfrm>
            <a:off x="457200" y="990882"/>
            <a:ext cx="8229600" cy="166809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 typeface="Times" charset="0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4938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333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333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7913" indent="-134938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16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5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074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503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lnSpc>
                <a:spcPts val="35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  <a:defRPr/>
            </a:pPr>
            <a:r>
              <a:rPr lang="pt-BR" sz="2800" b="1" kern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TO</a:t>
            </a:r>
            <a:r>
              <a:rPr lang="pt-BR" sz="2800" kern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é um </a:t>
            </a:r>
            <a:r>
              <a:rPr lang="pt-BR" sz="2800" i="1" kern="0" dirty="0">
                <a:solidFill>
                  <a:srgbClr val="D296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forço temporário empreendido para criar um produto, serviço ou resultado único</a:t>
            </a:r>
            <a:r>
              <a:rPr lang="pt-BR" sz="2800" kern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</a:p>
          <a:p>
            <a:pPr defTabSz="914400">
              <a:lnSpc>
                <a:spcPts val="35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Arial" charset="0"/>
              <a:buChar char="•"/>
              <a:defRPr/>
            </a:pPr>
            <a:endParaRPr lang="pt-BR" sz="2800" b="1" kern="0" dirty="0">
              <a:solidFill>
                <a:schemeClr val="tx1">
                  <a:lumMod val="75000"/>
                  <a:lumOff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Retângulo: Cantos Arredondados 2">
            <a:extLst>
              <a:ext uri="{FF2B5EF4-FFF2-40B4-BE49-F238E27FC236}">
                <a16:creationId xmlns:a16="http://schemas.microsoft.com/office/drawing/2014/main" id="{E55B70DF-9D48-4DBB-9A10-5C2376150E38}"/>
              </a:ext>
            </a:extLst>
          </p:cNvPr>
          <p:cNvSpPr/>
          <p:nvPr/>
        </p:nvSpPr>
        <p:spPr>
          <a:xfrm>
            <a:off x="605993" y="3075806"/>
            <a:ext cx="1884931" cy="639372"/>
          </a:xfrm>
          <a:prstGeom prst="roundRect">
            <a:avLst/>
          </a:prstGeom>
          <a:solidFill>
            <a:srgbClr val="FFB80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Temporário</a:t>
            </a:r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8C01A175-B3F9-4A6B-B6AD-55DE03BCCADB}"/>
              </a:ext>
            </a:extLst>
          </p:cNvPr>
          <p:cNvSpPr/>
          <p:nvPr/>
        </p:nvSpPr>
        <p:spPr>
          <a:xfrm>
            <a:off x="3520537" y="3075806"/>
            <a:ext cx="1884931" cy="639372"/>
          </a:xfrm>
          <a:prstGeom prst="roundRect">
            <a:avLst/>
          </a:prstGeom>
          <a:solidFill>
            <a:srgbClr val="FFB80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Único</a:t>
            </a:r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449488AC-962F-4DCB-B55B-339BDC0B5CA8}"/>
              </a:ext>
            </a:extLst>
          </p:cNvPr>
          <p:cNvSpPr/>
          <p:nvPr/>
        </p:nvSpPr>
        <p:spPr>
          <a:xfrm>
            <a:off x="6435080" y="3075806"/>
            <a:ext cx="1884931" cy="639372"/>
          </a:xfrm>
          <a:prstGeom prst="roundRect">
            <a:avLst/>
          </a:prstGeom>
          <a:solidFill>
            <a:srgbClr val="FFB80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Recursos limitados</a:t>
            </a: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6A22AFCC-F9F2-4ED1-92A9-5035C0AA662B}"/>
              </a:ext>
            </a:extLst>
          </p:cNvPr>
          <p:cNvSpPr/>
          <p:nvPr/>
        </p:nvSpPr>
        <p:spPr>
          <a:xfrm>
            <a:off x="605993" y="4073020"/>
            <a:ext cx="1884931" cy="639372"/>
          </a:xfrm>
          <a:prstGeom prst="roundRect">
            <a:avLst/>
          </a:prstGeom>
          <a:solidFill>
            <a:srgbClr val="FFB80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Objetivo definido</a:t>
            </a:r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2206C296-88DA-4E66-B5E1-FB1E1B29BDDA}"/>
              </a:ext>
            </a:extLst>
          </p:cNvPr>
          <p:cNvSpPr/>
          <p:nvPr/>
        </p:nvSpPr>
        <p:spPr>
          <a:xfrm>
            <a:off x="6435080" y="4073020"/>
            <a:ext cx="1884931" cy="639372"/>
          </a:xfrm>
          <a:prstGeom prst="roundRect">
            <a:avLst/>
          </a:prstGeom>
          <a:solidFill>
            <a:srgbClr val="FFB80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Progressivo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37E6C080-7145-4DE6-9B6F-DC4EF15B5C67}"/>
              </a:ext>
            </a:extLst>
          </p:cNvPr>
          <p:cNvSpPr/>
          <p:nvPr/>
        </p:nvSpPr>
        <p:spPr>
          <a:xfrm>
            <a:off x="3520537" y="4073020"/>
            <a:ext cx="1884931" cy="639372"/>
          </a:xfrm>
          <a:prstGeom prst="roundRect">
            <a:avLst/>
          </a:prstGeom>
          <a:solidFill>
            <a:srgbClr val="FFB80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Risco inerente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DB1475A6-FBCF-4019-BE42-E8583CBCC683}"/>
              </a:ext>
            </a:extLst>
          </p:cNvPr>
          <p:cNvSpPr txBox="1"/>
          <p:nvPr/>
        </p:nvSpPr>
        <p:spPr>
          <a:xfrm>
            <a:off x="313046" y="208186"/>
            <a:ext cx="27919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ção</a:t>
            </a:r>
          </a:p>
        </p:txBody>
      </p:sp>
    </p:spTree>
    <p:extLst>
      <p:ext uri="{BB962C8B-B14F-4D97-AF65-F5344CB8AC3E}">
        <p14:creationId xmlns:p14="http://schemas.microsoft.com/office/powerpoint/2010/main" val="2276350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a vez</a:t>
            </a:r>
          </a:p>
        </p:txBody>
      </p:sp>
      <p:pic>
        <p:nvPicPr>
          <p:cNvPr id="26628" name="Picture 4" descr="Resultado de imagem para i want you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8783" y="52337"/>
            <a:ext cx="3857433" cy="5183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8450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7" name="Straight Connector 126"/>
          <p:cNvCxnSpPr/>
          <p:nvPr/>
        </p:nvCxnSpPr>
        <p:spPr>
          <a:xfrm>
            <a:off x="1521309" y="970361"/>
            <a:ext cx="0" cy="334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 Box 9"/>
          <p:cNvSpPr txBox="1">
            <a:spLocks noChangeArrowheads="1"/>
          </p:cNvSpPr>
          <p:nvPr/>
        </p:nvSpPr>
        <p:spPr bwMode="auto">
          <a:xfrm>
            <a:off x="3675350" y="352769"/>
            <a:ext cx="1391190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1" name="Text Box 9"/>
          <p:cNvSpPr txBox="1">
            <a:spLocks noChangeArrowheads="1"/>
          </p:cNvSpPr>
          <p:nvPr/>
        </p:nvSpPr>
        <p:spPr bwMode="auto">
          <a:xfrm>
            <a:off x="1087835" y="1839986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2" name="Text Box 9"/>
          <p:cNvSpPr txBox="1">
            <a:spLocks noChangeArrowheads="1"/>
          </p:cNvSpPr>
          <p:nvPr/>
        </p:nvSpPr>
        <p:spPr bwMode="auto">
          <a:xfrm>
            <a:off x="1087835" y="2587761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3" name="Text Box 9"/>
          <p:cNvSpPr txBox="1">
            <a:spLocks noChangeArrowheads="1"/>
          </p:cNvSpPr>
          <p:nvPr/>
        </p:nvSpPr>
        <p:spPr bwMode="auto">
          <a:xfrm>
            <a:off x="1087835" y="3335536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4" name="Text Box 9"/>
          <p:cNvSpPr txBox="1">
            <a:spLocks noChangeArrowheads="1"/>
          </p:cNvSpPr>
          <p:nvPr/>
        </p:nvSpPr>
        <p:spPr bwMode="auto">
          <a:xfrm>
            <a:off x="1087835" y="4083311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5" name="Text Box 9"/>
          <p:cNvSpPr txBox="1">
            <a:spLocks noChangeArrowheads="1"/>
          </p:cNvSpPr>
          <p:nvPr/>
        </p:nvSpPr>
        <p:spPr bwMode="auto">
          <a:xfrm>
            <a:off x="2942263" y="1839986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6" name="Text Box 9"/>
          <p:cNvSpPr txBox="1">
            <a:spLocks noChangeArrowheads="1"/>
          </p:cNvSpPr>
          <p:nvPr/>
        </p:nvSpPr>
        <p:spPr bwMode="auto">
          <a:xfrm>
            <a:off x="2942263" y="2587761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7" name="Text Box 9"/>
          <p:cNvSpPr txBox="1">
            <a:spLocks noChangeArrowheads="1"/>
          </p:cNvSpPr>
          <p:nvPr/>
        </p:nvSpPr>
        <p:spPr bwMode="auto">
          <a:xfrm>
            <a:off x="2942263" y="3335536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66" name="Text Box 9"/>
          <p:cNvSpPr txBox="1">
            <a:spLocks noChangeArrowheads="1"/>
          </p:cNvSpPr>
          <p:nvPr/>
        </p:nvSpPr>
        <p:spPr bwMode="auto">
          <a:xfrm>
            <a:off x="2942263" y="4083311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67" name="Text Box 9"/>
          <p:cNvSpPr txBox="1">
            <a:spLocks noChangeArrowheads="1"/>
          </p:cNvSpPr>
          <p:nvPr/>
        </p:nvSpPr>
        <p:spPr bwMode="auto">
          <a:xfrm>
            <a:off x="4783160" y="1839986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68" name="Text Box 9"/>
          <p:cNvSpPr txBox="1">
            <a:spLocks noChangeArrowheads="1"/>
          </p:cNvSpPr>
          <p:nvPr/>
        </p:nvSpPr>
        <p:spPr bwMode="auto">
          <a:xfrm>
            <a:off x="4783160" y="2587761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69" name="Text Box 9"/>
          <p:cNvSpPr txBox="1">
            <a:spLocks noChangeArrowheads="1"/>
          </p:cNvSpPr>
          <p:nvPr/>
        </p:nvSpPr>
        <p:spPr bwMode="auto">
          <a:xfrm>
            <a:off x="4783160" y="3335536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76" name="Text Box 9"/>
          <p:cNvSpPr txBox="1">
            <a:spLocks noChangeArrowheads="1"/>
          </p:cNvSpPr>
          <p:nvPr/>
        </p:nvSpPr>
        <p:spPr bwMode="auto">
          <a:xfrm>
            <a:off x="4783160" y="4083311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77" name="Text Box 9"/>
          <p:cNvSpPr txBox="1">
            <a:spLocks noChangeArrowheads="1"/>
          </p:cNvSpPr>
          <p:nvPr/>
        </p:nvSpPr>
        <p:spPr bwMode="auto">
          <a:xfrm>
            <a:off x="6614827" y="1839986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78" name="Text Box 9"/>
          <p:cNvSpPr txBox="1">
            <a:spLocks noChangeArrowheads="1"/>
          </p:cNvSpPr>
          <p:nvPr/>
        </p:nvSpPr>
        <p:spPr bwMode="auto">
          <a:xfrm>
            <a:off x="6614827" y="2587761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79" name="Text Box 9"/>
          <p:cNvSpPr txBox="1">
            <a:spLocks noChangeArrowheads="1"/>
          </p:cNvSpPr>
          <p:nvPr/>
        </p:nvSpPr>
        <p:spPr bwMode="auto">
          <a:xfrm>
            <a:off x="6614827" y="3335536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80" name="Text Box 9"/>
          <p:cNvSpPr txBox="1">
            <a:spLocks noChangeArrowheads="1"/>
          </p:cNvSpPr>
          <p:nvPr/>
        </p:nvSpPr>
        <p:spPr bwMode="auto">
          <a:xfrm>
            <a:off x="6614827" y="4083311"/>
            <a:ext cx="1149744" cy="504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897360" y="1588293"/>
            <a:ext cx="0" cy="27249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2741635" y="1588293"/>
            <a:ext cx="0" cy="27249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4585910" y="1588293"/>
            <a:ext cx="0" cy="27249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/>
        </p:nvCxnSpPr>
        <p:spPr>
          <a:xfrm>
            <a:off x="6421170" y="1588293"/>
            <a:ext cx="0" cy="27249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 flipH="1">
            <a:off x="1517501" y="970361"/>
            <a:ext cx="56166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stCxn id="51" idx="1"/>
          </p:cNvCxnSpPr>
          <p:nvPr/>
        </p:nvCxnSpPr>
        <p:spPr>
          <a:xfrm flipH="1">
            <a:off x="897360" y="2092318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 flipH="1">
            <a:off x="897360" y="2847649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/>
        </p:nvCxnSpPr>
        <p:spPr>
          <a:xfrm flipH="1">
            <a:off x="897360" y="3593129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H="1">
            <a:off x="897360" y="4313209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 flipH="1">
            <a:off x="2741635" y="2092318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 flipH="1">
            <a:off x="2741635" y="2847649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/>
        </p:nvCxnSpPr>
        <p:spPr>
          <a:xfrm flipH="1">
            <a:off x="2741635" y="3593129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/>
          <p:cNvCxnSpPr/>
          <p:nvPr/>
        </p:nvCxnSpPr>
        <p:spPr>
          <a:xfrm flipH="1">
            <a:off x="2741635" y="4313209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/>
          <p:nvPr/>
        </p:nvCxnSpPr>
        <p:spPr>
          <a:xfrm flipH="1">
            <a:off x="4585910" y="2092318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 flipH="1">
            <a:off x="4585910" y="2847649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/>
        </p:nvCxnSpPr>
        <p:spPr>
          <a:xfrm flipH="1">
            <a:off x="4585910" y="3593129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 flipH="1">
            <a:off x="4585910" y="4313209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/>
        </p:nvCxnSpPr>
        <p:spPr>
          <a:xfrm flipH="1">
            <a:off x="6421170" y="2092318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 flipH="1">
            <a:off x="6421170" y="2847649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/>
        </p:nvCxnSpPr>
        <p:spPr>
          <a:xfrm flipH="1">
            <a:off x="6421170" y="3593129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/>
        </p:nvCxnSpPr>
        <p:spPr>
          <a:xfrm flipH="1">
            <a:off x="6421170" y="4313209"/>
            <a:ext cx="190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/>
        </p:nvCxnSpPr>
        <p:spPr>
          <a:xfrm>
            <a:off x="3461715" y="970361"/>
            <a:ext cx="0" cy="334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/>
        </p:nvCxnSpPr>
        <p:spPr>
          <a:xfrm>
            <a:off x="5261915" y="970361"/>
            <a:ext cx="0" cy="334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/>
        </p:nvCxnSpPr>
        <p:spPr>
          <a:xfrm>
            <a:off x="7134123" y="970361"/>
            <a:ext cx="0" cy="334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Box 9"/>
          <p:cNvSpPr txBox="1">
            <a:spLocks noChangeArrowheads="1"/>
          </p:cNvSpPr>
          <p:nvPr/>
        </p:nvSpPr>
        <p:spPr bwMode="auto">
          <a:xfrm>
            <a:off x="897360" y="1083630"/>
            <a:ext cx="1391190" cy="504663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48" name="Text Box 9"/>
          <p:cNvSpPr txBox="1">
            <a:spLocks noChangeArrowheads="1"/>
          </p:cNvSpPr>
          <p:nvPr/>
        </p:nvSpPr>
        <p:spPr bwMode="auto">
          <a:xfrm>
            <a:off x="2741635" y="1083630"/>
            <a:ext cx="1391190" cy="504663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49" name="Text Box 9"/>
          <p:cNvSpPr txBox="1">
            <a:spLocks noChangeArrowheads="1"/>
          </p:cNvSpPr>
          <p:nvPr/>
        </p:nvSpPr>
        <p:spPr bwMode="auto">
          <a:xfrm>
            <a:off x="4585910" y="1083630"/>
            <a:ext cx="1391190" cy="504663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0" name="Text Box 9"/>
          <p:cNvSpPr txBox="1">
            <a:spLocks noChangeArrowheads="1"/>
          </p:cNvSpPr>
          <p:nvPr/>
        </p:nvSpPr>
        <p:spPr bwMode="auto">
          <a:xfrm>
            <a:off x="6421170" y="1083630"/>
            <a:ext cx="1391190" cy="504663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5146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9718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429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886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171450" marR="0" lvl="0" indent="-171450" algn="l" defTabSz="388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D7A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de-DE" alt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131" name="Straight Connector 130"/>
          <p:cNvCxnSpPr/>
          <p:nvPr/>
        </p:nvCxnSpPr>
        <p:spPr>
          <a:xfrm>
            <a:off x="4325811" y="857432"/>
            <a:ext cx="0" cy="1129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442396"/>
      </p:ext>
    </p:extLst>
  </p:cSld>
  <p:clrMapOvr>
    <a:masterClrMapping/>
  </p:clrMapOvr>
  <p:transition advClick="0"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 descr="Resultado de imagem para por hoje Ã© sÃ³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1"/>
          <a:stretch/>
        </p:blipFill>
        <p:spPr bwMode="auto">
          <a:xfrm>
            <a:off x="4128" y="-20539"/>
            <a:ext cx="9139872" cy="5181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4217358"/>
      </p:ext>
    </p:extLst>
  </p:cSld>
  <p:clrMapOvr>
    <a:masterClrMapping/>
  </p:clrMapOvr>
  <p:transition advClick="0"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b="1" dirty="0"/>
              <a:t>Noções básicas em Gestão de Projetos</a:t>
            </a:r>
            <a:br>
              <a:rPr lang="de-DE" b="1" dirty="0"/>
            </a:br>
            <a:r>
              <a:rPr lang="de-DE" sz="2400" dirty="0"/>
              <a:t>Junho/14</a:t>
            </a:r>
            <a:r>
              <a:rPr lang="de-DE" sz="2800" dirty="0"/>
              <a:t/>
            </a:r>
            <a:br>
              <a:rPr lang="de-DE" sz="2800" dirty="0"/>
            </a:br>
            <a:r>
              <a:rPr lang="de-DE" sz="1600" dirty="0"/>
              <a:t> </a:t>
            </a:r>
            <a:r>
              <a:rPr lang="de-DE" sz="2800" dirty="0"/>
              <a:t/>
            </a:r>
            <a:br>
              <a:rPr lang="de-DE" sz="2800" dirty="0"/>
            </a:br>
            <a:r>
              <a:rPr lang="de-DE" sz="2400" dirty="0"/>
              <a:t>Luiz Faccin, PMO</a:t>
            </a:r>
          </a:p>
        </p:txBody>
      </p:sp>
    </p:spTree>
    <p:extLst>
      <p:ext uri="{BB962C8B-B14F-4D97-AF65-F5344CB8AC3E}">
        <p14:creationId xmlns:p14="http://schemas.microsoft.com/office/powerpoint/2010/main" val="71634889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ases da gestão de projeto</a:t>
            </a:r>
          </a:p>
        </p:txBody>
      </p:sp>
      <p:sp>
        <p:nvSpPr>
          <p:cNvPr id="3" name="Seta: Pentágono 2">
            <a:extLst>
              <a:ext uri="{FF2B5EF4-FFF2-40B4-BE49-F238E27FC236}">
                <a16:creationId xmlns:a16="http://schemas.microsoft.com/office/drawing/2014/main" id="{4E6AC1C4-8748-4C39-8EF7-921603E45E8D}"/>
              </a:ext>
            </a:extLst>
          </p:cNvPr>
          <p:cNvSpPr/>
          <p:nvPr/>
        </p:nvSpPr>
        <p:spPr>
          <a:xfrm>
            <a:off x="7232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Iniciação</a:t>
            </a:r>
          </a:p>
        </p:txBody>
      </p:sp>
      <p:sp>
        <p:nvSpPr>
          <p:cNvPr id="7" name="Seta: Pentágono 6">
            <a:extLst>
              <a:ext uri="{FF2B5EF4-FFF2-40B4-BE49-F238E27FC236}">
                <a16:creationId xmlns:a16="http://schemas.microsoft.com/office/drawing/2014/main" id="{3B370224-712D-4D03-BC2A-C576A2EC3FED}"/>
              </a:ext>
            </a:extLst>
          </p:cNvPr>
          <p:cNvSpPr/>
          <p:nvPr/>
        </p:nvSpPr>
        <p:spPr>
          <a:xfrm>
            <a:off x="189996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Planejamento</a:t>
            </a:r>
          </a:p>
        </p:txBody>
      </p:sp>
      <p:sp>
        <p:nvSpPr>
          <p:cNvPr id="9" name="Seta: Pentágono 8">
            <a:extLst>
              <a:ext uri="{FF2B5EF4-FFF2-40B4-BE49-F238E27FC236}">
                <a16:creationId xmlns:a16="http://schemas.microsoft.com/office/drawing/2014/main" id="{44C70F2F-1F97-490C-919E-5EF0A64EA28A}"/>
              </a:ext>
            </a:extLst>
          </p:cNvPr>
          <p:cNvSpPr/>
          <p:nvPr/>
        </p:nvSpPr>
        <p:spPr>
          <a:xfrm>
            <a:off x="372760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Execução</a:t>
            </a:r>
          </a:p>
        </p:txBody>
      </p:sp>
      <p:sp>
        <p:nvSpPr>
          <p:cNvPr id="10" name="Seta: Pentágono 9">
            <a:extLst>
              <a:ext uri="{FF2B5EF4-FFF2-40B4-BE49-F238E27FC236}">
                <a16:creationId xmlns:a16="http://schemas.microsoft.com/office/drawing/2014/main" id="{3C767181-78B6-48D0-8DC3-B7F3A1616E4F}"/>
              </a:ext>
            </a:extLst>
          </p:cNvPr>
          <p:cNvSpPr/>
          <p:nvPr/>
        </p:nvSpPr>
        <p:spPr>
          <a:xfrm>
            <a:off x="555524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Monitoramento e controle</a:t>
            </a:r>
          </a:p>
        </p:txBody>
      </p:sp>
      <p:sp>
        <p:nvSpPr>
          <p:cNvPr id="11" name="Seta: Pentágono 10">
            <a:extLst>
              <a:ext uri="{FF2B5EF4-FFF2-40B4-BE49-F238E27FC236}">
                <a16:creationId xmlns:a16="http://schemas.microsoft.com/office/drawing/2014/main" id="{73B87327-0C1F-4A32-BD58-342C22D4337E}"/>
              </a:ext>
            </a:extLst>
          </p:cNvPr>
          <p:cNvSpPr/>
          <p:nvPr/>
        </p:nvSpPr>
        <p:spPr>
          <a:xfrm>
            <a:off x="738288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Encerramento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5E35CFF4-BF72-4966-B692-0AEB7C8B4856}"/>
              </a:ext>
            </a:extLst>
          </p:cNvPr>
          <p:cNvSpPr/>
          <p:nvPr/>
        </p:nvSpPr>
        <p:spPr>
          <a:xfrm>
            <a:off x="72328" y="2283718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AP / Project Charter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9924661E-2864-4562-87DA-22A4C5D3BC85}"/>
              </a:ext>
            </a:extLst>
          </p:cNvPr>
          <p:cNvSpPr/>
          <p:nvPr/>
        </p:nvSpPr>
        <p:spPr>
          <a:xfrm>
            <a:off x="1899967" y="2417795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o de risc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o de comunicação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ickoff</a:t>
            </a: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meeting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36EB86FF-0DFC-4CDD-989F-D0CDF28E9BB7}"/>
              </a:ext>
            </a:extLst>
          </p:cNvPr>
          <p:cNvSpPr/>
          <p:nvPr/>
        </p:nvSpPr>
        <p:spPr>
          <a:xfrm>
            <a:off x="3727606" y="2283718"/>
            <a:ext cx="3491027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terações de escop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teração de 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cas de acompanhamento</a:t>
            </a:r>
          </a:p>
        </p:txBody>
      </p: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D372310A-0021-4076-8894-3BAFB021FC77}"/>
              </a:ext>
            </a:extLst>
          </p:cNvPr>
          <p:cNvSpPr/>
          <p:nvPr/>
        </p:nvSpPr>
        <p:spPr>
          <a:xfrm>
            <a:off x="7382884" y="2283718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ultados obtid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ções aprendi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união de fech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lebration</a:t>
            </a: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BFF8AC44-1E67-4DC3-A26A-91ED5E799FCC}"/>
              </a:ext>
            </a:extLst>
          </p:cNvPr>
          <p:cNvSpPr/>
          <p:nvPr/>
        </p:nvSpPr>
        <p:spPr>
          <a:xfrm>
            <a:off x="119148" y="1075780"/>
            <a:ext cx="387795" cy="38779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FABA0406-66C2-4427-A000-CDD838F17162}"/>
              </a:ext>
            </a:extLst>
          </p:cNvPr>
          <p:cNvSpPr/>
          <p:nvPr/>
        </p:nvSpPr>
        <p:spPr>
          <a:xfrm>
            <a:off x="1942096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8411B5C1-908D-4A96-9569-A23EB0C51FD4}"/>
              </a:ext>
            </a:extLst>
          </p:cNvPr>
          <p:cNvSpPr/>
          <p:nvPr/>
        </p:nvSpPr>
        <p:spPr>
          <a:xfrm>
            <a:off x="3789458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CABC980C-A1F3-46B4-BEEE-0FD343EAD2CF}"/>
              </a:ext>
            </a:extLst>
          </p:cNvPr>
          <p:cNvSpPr/>
          <p:nvPr/>
        </p:nvSpPr>
        <p:spPr>
          <a:xfrm>
            <a:off x="5586173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3D2A14C4-8B38-496F-A164-94AD07693C1E}"/>
              </a:ext>
            </a:extLst>
          </p:cNvPr>
          <p:cNvSpPr/>
          <p:nvPr/>
        </p:nvSpPr>
        <p:spPr>
          <a:xfrm>
            <a:off x="7413813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5</a:t>
            </a:r>
          </a:p>
        </p:txBody>
      </p:sp>
      <p:sp>
        <p:nvSpPr>
          <p:cNvPr id="2" name="Left Brace 1"/>
          <p:cNvSpPr/>
          <p:nvPr/>
        </p:nvSpPr>
        <p:spPr>
          <a:xfrm rot="5400000">
            <a:off x="1691917" y="-277854"/>
            <a:ext cx="121940" cy="2613890"/>
          </a:xfrm>
          <a:prstGeom prst="leftBrace">
            <a:avLst>
              <a:gd name="adj1" fmla="val 16500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368005" y="683737"/>
            <a:ext cx="769763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copo</a:t>
            </a:r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54D4057B-93B3-4403-A6FF-C042312F5005}"/>
              </a:ext>
            </a:extLst>
          </p:cNvPr>
          <p:cNvSpPr/>
          <p:nvPr/>
        </p:nvSpPr>
        <p:spPr>
          <a:xfrm>
            <a:off x="72328" y="2283718"/>
            <a:ext cx="3491027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4578" name="Picture 2" descr="Resultado de imagem para check">
            <a:extLst>
              <a:ext uri="{FF2B5EF4-FFF2-40B4-BE49-F238E27FC236}">
                <a16:creationId xmlns:a16="http://schemas.microsoft.com/office/drawing/2014/main" id="{E95906B1-572D-49C7-A78C-5652D2BAFA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448" y="2883169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Resultado de imagem para check">
            <a:extLst>
              <a:ext uri="{FF2B5EF4-FFF2-40B4-BE49-F238E27FC236}">
                <a16:creationId xmlns:a16="http://schemas.microsoft.com/office/drawing/2014/main" id="{3D7F42BB-B0A1-47E5-8343-724791383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307" y="2282952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930081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C9CF94EA-A861-46FD-9F0C-00C373B6AC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5" r="751"/>
          <a:stretch>
            <a:fillRect/>
          </a:stretch>
        </p:blipFill>
        <p:spPr bwMode="auto">
          <a:xfrm>
            <a:off x="206974" y="159482"/>
            <a:ext cx="8730051" cy="4824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819242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415D442D-9C19-4FFF-A008-0FF1CBF2D4C3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onograma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68BA8190-417F-49CC-B4F1-1F84450AE507}"/>
              </a:ext>
            </a:extLst>
          </p:cNvPr>
          <p:cNvSpPr/>
          <p:nvPr/>
        </p:nvSpPr>
        <p:spPr>
          <a:xfrm>
            <a:off x="313046" y="1851670"/>
            <a:ext cx="8291402" cy="115467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 Cronograma é uma das principais ferramentas da gestão tradicional de projetos, ele representa </a:t>
            </a:r>
            <a:r>
              <a:rPr lang="pt-BR" sz="1600" dirty="0">
                <a:highlight>
                  <a:srgbClr val="FFC021"/>
                </a:highlight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 forma gráfica </a:t>
            </a:r>
            <a:r>
              <a:rPr lang="pt-BR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 </a:t>
            </a:r>
            <a:r>
              <a:rPr lang="pt-BR" sz="1600" dirty="0">
                <a:highlight>
                  <a:srgbClr val="FFC021"/>
                </a:highlight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istribuição e o encadeamento de tarefas </a:t>
            </a:r>
            <a:r>
              <a:rPr lang="pt-BR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ecessárias para cumprir as entregas que foram definidas na EAP do Projeto.</a:t>
            </a:r>
          </a:p>
        </p:txBody>
      </p:sp>
    </p:spTree>
    <p:extLst>
      <p:ext uri="{BB962C8B-B14F-4D97-AF65-F5344CB8AC3E}">
        <p14:creationId xmlns:p14="http://schemas.microsoft.com/office/powerpoint/2010/main" val="228353892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415D442D-9C19-4FFF-A008-0FF1CBF2D4C3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ncipais componentes</a:t>
            </a:r>
          </a:p>
        </p:txBody>
      </p:sp>
      <p:pic>
        <p:nvPicPr>
          <p:cNvPr id="24578" name="Picture 2" descr="Resultado de imagem para microsoft project exemplo">
            <a:extLst>
              <a:ext uri="{FF2B5EF4-FFF2-40B4-BE49-F238E27FC236}">
                <a16:creationId xmlns:a16="http://schemas.microsoft.com/office/drawing/2014/main" id="{1E33F9FB-0F92-44B6-B3CB-95C43406F6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03623"/>
            <a:ext cx="9144000" cy="412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860591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415D442D-9C19-4FFF-A008-0FF1CBF2D4C3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ncipais componentes</a:t>
            </a:r>
          </a:p>
        </p:txBody>
      </p:sp>
      <p:pic>
        <p:nvPicPr>
          <p:cNvPr id="24578" name="Picture 2" descr="Resultado de imagem para microsoft project exemplo">
            <a:extLst>
              <a:ext uri="{FF2B5EF4-FFF2-40B4-BE49-F238E27FC236}">
                <a16:creationId xmlns:a16="http://schemas.microsoft.com/office/drawing/2014/main" id="{1E33F9FB-0F92-44B6-B3CB-95C43406F6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03623"/>
            <a:ext cx="9144000" cy="412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51086729-66A2-4532-9C43-FEFD00800C51}"/>
              </a:ext>
            </a:extLst>
          </p:cNvPr>
          <p:cNvSpPr/>
          <p:nvPr/>
        </p:nvSpPr>
        <p:spPr>
          <a:xfrm>
            <a:off x="-2196752" y="0"/>
            <a:ext cx="936104" cy="523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28A0D6C8-CFF6-4860-92D6-B0CFB58D36C0}"/>
              </a:ext>
            </a:extLst>
          </p:cNvPr>
          <p:cNvSpPr/>
          <p:nvPr/>
        </p:nvSpPr>
        <p:spPr>
          <a:xfrm>
            <a:off x="611560" y="2190502"/>
            <a:ext cx="1636545" cy="27762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EFC703EA-C421-4D45-B8D6-A8E8C858A9D5}"/>
              </a:ext>
            </a:extLst>
          </p:cNvPr>
          <p:cNvSpPr txBox="1"/>
          <p:nvPr/>
        </p:nvSpPr>
        <p:spPr>
          <a:xfrm>
            <a:off x="1275997" y="1874862"/>
            <a:ext cx="19442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FF0000"/>
                </a:solidFill>
              </a:rPr>
              <a:t>Nome do projeto</a:t>
            </a:r>
          </a:p>
        </p:txBody>
      </p:sp>
    </p:spTree>
    <p:extLst>
      <p:ext uri="{BB962C8B-B14F-4D97-AF65-F5344CB8AC3E}">
        <p14:creationId xmlns:p14="http://schemas.microsoft.com/office/powerpoint/2010/main" val="1923506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415D442D-9C19-4FFF-A008-0FF1CBF2D4C3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ncipais componentes</a:t>
            </a:r>
          </a:p>
        </p:txBody>
      </p:sp>
      <p:pic>
        <p:nvPicPr>
          <p:cNvPr id="24578" name="Picture 2" descr="Resultado de imagem para microsoft project exemplo">
            <a:extLst>
              <a:ext uri="{FF2B5EF4-FFF2-40B4-BE49-F238E27FC236}">
                <a16:creationId xmlns:a16="http://schemas.microsoft.com/office/drawing/2014/main" id="{1E33F9FB-0F92-44B6-B3CB-95C43406F6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03623"/>
            <a:ext cx="9144000" cy="412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51086729-66A2-4532-9C43-FEFD00800C51}"/>
              </a:ext>
            </a:extLst>
          </p:cNvPr>
          <p:cNvSpPr/>
          <p:nvPr/>
        </p:nvSpPr>
        <p:spPr>
          <a:xfrm>
            <a:off x="2123728" y="996016"/>
            <a:ext cx="7020272" cy="4136694"/>
          </a:xfrm>
          <a:prstGeom prst="rect">
            <a:avLst/>
          </a:prstGeom>
          <a:solidFill>
            <a:srgbClr val="FBFBFB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28A0D6C8-CFF6-4860-92D6-B0CFB58D36C0}"/>
              </a:ext>
            </a:extLst>
          </p:cNvPr>
          <p:cNvSpPr/>
          <p:nvPr/>
        </p:nvSpPr>
        <p:spPr>
          <a:xfrm>
            <a:off x="789484" y="2370838"/>
            <a:ext cx="1016165" cy="17238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EFC703EA-C421-4D45-B8D6-A8E8C858A9D5}"/>
              </a:ext>
            </a:extLst>
          </p:cNvPr>
          <p:cNvSpPr txBox="1"/>
          <p:nvPr/>
        </p:nvSpPr>
        <p:spPr>
          <a:xfrm>
            <a:off x="2123728" y="1628264"/>
            <a:ext cx="31683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err="1">
                <a:solidFill>
                  <a:srgbClr val="FF0000"/>
                </a:solidFill>
              </a:rPr>
              <a:t>Milestones</a:t>
            </a:r>
            <a:r>
              <a:rPr lang="pt-BR" sz="1600" b="1" dirty="0">
                <a:solidFill>
                  <a:srgbClr val="FF0000"/>
                </a:solidFill>
              </a:rPr>
              <a:t> (marcos) / etapas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5AC6AC8E-3650-47FE-9BB8-F37E4D04B5C3}"/>
              </a:ext>
            </a:extLst>
          </p:cNvPr>
          <p:cNvSpPr/>
          <p:nvPr/>
        </p:nvSpPr>
        <p:spPr>
          <a:xfrm>
            <a:off x="0" y="1006806"/>
            <a:ext cx="2123728" cy="868056"/>
          </a:xfrm>
          <a:prstGeom prst="rect">
            <a:avLst/>
          </a:prstGeom>
          <a:solidFill>
            <a:srgbClr val="FBFBFB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CEB8417A-0AD6-4C6F-AB77-94FE505B1261}"/>
              </a:ext>
            </a:extLst>
          </p:cNvPr>
          <p:cNvSpPr/>
          <p:nvPr/>
        </p:nvSpPr>
        <p:spPr>
          <a:xfrm>
            <a:off x="789484" y="2920601"/>
            <a:ext cx="1016165" cy="17238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DD4870F5-A3A6-4735-9956-65C8D9312324}"/>
              </a:ext>
            </a:extLst>
          </p:cNvPr>
          <p:cNvSpPr/>
          <p:nvPr/>
        </p:nvSpPr>
        <p:spPr>
          <a:xfrm>
            <a:off x="789484" y="3463867"/>
            <a:ext cx="1016165" cy="17238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C724705D-B595-4F60-8183-C3B69D0E7A2E}"/>
              </a:ext>
            </a:extLst>
          </p:cNvPr>
          <p:cNvSpPr/>
          <p:nvPr/>
        </p:nvSpPr>
        <p:spPr>
          <a:xfrm>
            <a:off x="767914" y="4007133"/>
            <a:ext cx="1016165" cy="17238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1456B37D-9501-44F6-811D-1BD974404878}"/>
              </a:ext>
            </a:extLst>
          </p:cNvPr>
          <p:cNvSpPr/>
          <p:nvPr/>
        </p:nvSpPr>
        <p:spPr>
          <a:xfrm>
            <a:off x="2252662" y="1979270"/>
            <a:ext cx="6318448" cy="1255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b="1" dirty="0" err="1"/>
              <a:t>Milestones</a:t>
            </a:r>
            <a:r>
              <a:rPr lang="pt-BR" b="1" dirty="0"/>
              <a:t> são pontos significativos do projeto, eventos cuja ocorrência precisa ser reportada às partes interessadas (stakeholders) de modo a terem clara visibilidade do seu cumprimento.</a:t>
            </a:r>
          </a:p>
          <a:p>
            <a:pPr>
              <a:lnSpc>
                <a:spcPct val="150000"/>
              </a:lnSpc>
            </a:pPr>
            <a:r>
              <a:rPr lang="pt-BR" b="1" dirty="0"/>
              <a:t>Não possuem prazo.  </a:t>
            </a:r>
          </a:p>
        </p:txBody>
      </p:sp>
    </p:spTree>
    <p:extLst>
      <p:ext uri="{BB962C8B-B14F-4D97-AF65-F5344CB8AC3E}">
        <p14:creationId xmlns:p14="http://schemas.microsoft.com/office/powerpoint/2010/main" val="1991841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2">
            <a:extLst>
              <a:ext uri="{FF2B5EF4-FFF2-40B4-BE49-F238E27FC236}">
                <a16:creationId xmlns:a16="http://schemas.microsoft.com/office/drawing/2014/main" id="{A6C1B085-0C8E-41C0-B7BA-784E8C28FB7E}"/>
              </a:ext>
            </a:extLst>
          </p:cNvPr>
          <p:cNvSpPr txBox="1">
            <a:spLocks/>
          </p:cNvSpPr>
          <p:nvPr/>
        </p:nvSpPr>
        <p:spPr>
          <a:xfrm>
            <a:off x="642937" y="915566"/>
            <a:ext cx="8247063" cy="334248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 typeface="Times" charset="0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4938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333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333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7913" indent="-134938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16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5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074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503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3600" indent="-363600" defTabSz="91440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Wingdings" pitchFamily="2" charset="2"/>
              <a:buChar char="Ø"/>
              <a:defRPr/>
            </a:pPr>
            <a:r>
              <a:rPr lang="pt-BR" sz="2400" b="1" kern="0" dirty="0">
                <a:solidFill>
                  <a:srgbClr val="000000"/>
                </a:solidFill>
                <a:latin typeface="Verdana" pitchFamily="34" charset="0"/>
              </a:rPr>
              <a:t>IPMA – </a:t>
            </a:r>
            <a:r>
              <a:rPr lang="pt-BR" sz="2400" b="1" i="1" kern="0" dirty="0" err="1">
                <a:solidFill>
                  <a:srgbClr val="000000"/>
                </a:solidFill>
                <a:latin typeface="Verdana" pitchFamily="34" charset="0"/>
              </a:rPr>
              <a:t>International</a:t>
            </a:r>
            <a:r>
              <a:rPr lang="pt-BR" sz="2400" b="1" i="1" kern="0" dirty="0">
                <a:solidFill>
                  <a:srgbClr val="000000"/>
                </a:solidFill>
                <a:latin typeface="Verdana" pitchFamily="34" charset="0"/>
              </a:rPr>
              <a:t> Project Management </a:t>
            </a:r>
            <a:r>
              <a:rPr lang="pt-BR" sz="2400" b="1" i="1" kern="0" dirty="0" err="1">
                <a:solidFill>
                  <a:srgbClr val="000000"/>
                </a:solidFill>
                <a:latin typeface="Verdana" pitchFamily="34" charset="0"/>
              </a:rPr>
              <a:t>Association</a:t>
            </a:r>
            <a:r>
              <a:rPr lang="pt-BR" sz="2400" b="1" kern="0" dirty="0">
                <a:solidFill>
                  <a:srgbClr val="000000"/>
                </a:solidFill>
                <a:latin typeface="Verdana" pitchFamily="34" charset="0"/>
              </a:rPr>
              <a:t>, </a:t>
            </a:r>
            <a:r>
              <a:rPr lang="pt-BR" sz="2400" kern="0" dirty="0">
                <a:solidFill>
                  <a:srgbClr val="000000"/>
                </a:solidFill>
                <a:latin typeface="Verdana" pitchFamily="34" charset="0"/>
              </a:rPr>
              <a:t>criado em 1965 na Europa (</a:t>
            </a:r>
            <a:r>
              <a:rPr lang="pt-BR" sz="2400" kern="0" dirty="0" err="1">
                <a:solidFill>
                  <a:srgbClr val="000000"/>
                </a:solidFill>
                <a:latin typeface="Verdana" pitchFamily="34" charset="0"/>
              </a:rPr>
              <a:t>ex-Internet</a:t>
            </a:r>
            <a:r>
              <a:rPr lang="pt-BR" sz="2400" kern="0" dirty="0">
                <a:solidFill>
                  <a:srgbClr val="000000"/>
                </a:solidFill>
                <a:latin typeface="Verdana" pitchFamily="34" charset="0"/>
              </a:rPr>
              <a:t>), com filiais em 45 países – 1 filial no Brasil.</a:t>
            </a:r>
          </a:p>
          <a:p>
            <a:pPr marL="363600" lvl="1" indent="-363600" defTabSz="914400">
              <a:spcBef>
                <a:spcPts val="1200"/>
              </a:spcBef>
              <a:spcAft>
                <a:spcPts val="1200"/>
              </a:spcAft>
              <a:buFont typeface="Wingdings" pitchFamily="2" charset="2"/>
              <a:buChar char="Ø"/>
              <a:defRPr/>
            </a:pPr>
            <a:r>
              <a:rPr lang="pt-BR" sz="2400" b="1" kern="0" dirty="0">
                <a:solidFill>
                  <a:srgbClr val="000000"/>
                </a:solidFill>
                <a:latin typeface="Verdana" pitchFamily="34" charset="0"/>
              </a:rPr>
              <a:t>PMI – </a:t>
            </a:r>
            <a:r>
              <a:rPr lang="pt-BR" sz="2400" b="1" i="1" kern="0" dirty="0">
                <a:solidFill>
                  <a:srgbClr val="000000"/>
                </a:solidFill>
                <a:latin typeface="Verdana" pitchFamily="34" charset="0"/>
              </a:rPr>
              <a:t>Project Management </a:t>
            </a:r>
            <a:r>
              <a:rPr lang="pt-BR" sz="2400" b="1" i="1" kern="0" dirty="0" err="1">
                <a:solidFill>
                  <a:srgbClr val="000000"/>
                </a:solidFill>
                <a:latin typeface="Verdana" pitchFamily="34" charset="0"/>
              </a:rPr>
              <a:t>Institute</a:t>
            </a:r>
            <a:r>
              <a:rPr lang="pt-BR" sz="2400" kern="0" dirty="0">
                <a:solidFill>
                  <a:srgbClr val="000000"/>
                </a:solidFill>
                <a:latin typeface="Verdana" pitchFamily="34" charset="0"/>
              </a:rPr>
              <a:t>, criado em 1969 nos EUA, conta com 650.000 membros em 185 países e mais de 250 filiais em 70 países – 14 capítulos (filiais) no Brasil.</a:t>
            </a:r>
            <a:endParaRPr lang="pt-BR" sz="2400" kern="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632DCAC5-5845-4922-928B-5B0960438F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4443958"/>
            <a:ext cx="4900855" cy="50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AD9132CE-6A9F-48F1-B589-DA8BD3EFF30F}"/>
              </a:ext>
            </a:extLst>
          </p:cNvPr>
          <p:cNvSpPr txBox="1"/>
          <p:nvPr/>
        </p:nvSpPr>
        <p:spPr>
          <a:xfrm>
            <a:off x="313046" y="208186"/>
            <a:ext cx="69952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ociações profissionais</a:t>
            </a:r>
          </a:p>
        </p:txBody>
      </p:sp>
    </p:spTree>
    <p:extLst>
      <p:ext uri="{BB962C8B-B14F-4D97-AF65-F5344CB8AC3E}">
        <p14:creationId xmlns:p14="http://schemas.microsoft.com/office/powerpoint/2010/main" val="12846522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415D442D-9C19-4FFF-A008-0FF1CBF2D4C3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ncipais componentes</a:t>
            </a:r>
          </a:p>
        </p:txBody>
      </p:sp>
      <p:pic>
        <p:nvPicPr>
          <p:cNvPr id="24578" name="Picture 2" descr="Resultado de imagem para microsoft project exemplo">
            <a:extLst>
              <a:ext uri="{FF2B5EF4-FFF2-40B4-BE49-F238E27FC236}">
                <a16:creationId xmlns:a16="http://schemas.microsoft.com/office/drawing/2014/main" id="{1E33F9FB-0F92-44B6-B3CB-95C43406F6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03623"/>
            <a:ext cx="9144000" cy="412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51086729-66A2-4532-9C43-FEFD00800C51}"/>
              </a:ext>
            </a:extLst>
          </p:cNvPr>
          <p:cNvSpPr/>
          <p:nvPr/>
        </p:nvSpPr>
        <p:spPr>
          <a:xfrm>
            <a:off x="2123728" y="996016"/>
            <a:ext cx="7020272" cy="4136694"/>
          </a:xfrm>
          <a:prstGeom prst="rect">
            <a:avLst/>
          </a:prstGeom>
          <a:solidFill>
            <a:srgbClr val="FBFBFB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EFC703EA-C421-4D45-B8D6-A8E8C858A9D5}"/>
              </a:ext>
            </a:extLst>
          </p:cNvPr>
          <p:cNvSpPr txBox="1"/>
          <p:nvPr/>
        </p:nvSpPr>
        <p:spPr>
          <a:xfrm>
            <a:off x="2123728" y="1628264"/>
            <a:ext cx="31683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FF0000"/>
                </a:solidFill>
              </a:rPr>
              <a:t>Atividades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5AC6AC8E-3650-47FE-9BB8-F37E4D04B5C3}"/>
              </a:ext>
            </a:extLst>
          </p:cNvPr>
          <p:cNvSpPr/>
          <p:nvPr/>
        </p:nvSpPr>
        <p:spPr>
          <a:xfrm>
            <a:off x="0" y="1006806"/>
            <a:ext cx="2123728" cy="868056"/>
          </a:xfrm>
          <a:prstGeom prst="rect">
            <a:avLst/>
          </a:prstGeom>
          <a:solidFill>
            <a:srgbClr val="FBFBFB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1456B37D-9501-44F6-811D-1BD974404878}"/>
              </a:ext>
            </a:extLst>
          </p:cNvPr>
          <p:cNvSpPr/>
          <p:nvPr/>
        </p:nvSpPr>
        <p:spPr>
          <a:xfrm>
            <a:off x="2252662" y="1979270"/>
            <a:ext cx="6318448" cy="3553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b="1" dirty="0"/>
              <a:t>Ações a serem realizadas por algum recurso em um determinado prazo.</a:t>
            </a:r>
          </a:p>
        </p:txBody>
      </p:sp>
      <p:sp>
        <p:nvSpPr>
          <p:cNvPr id="6" name="Chave Direita 5">
            <a:extLst>
              <a:ext uri="{FF2B5EF4-FFF2-40B4-BE49-F238E27FC236}">
                <a16:creationId xmlns:a16="http://schemas.microsoft.com/office/drawing/2014/main" id="{2D7E040A-4E3B-4720-BD9A-59801C5AF3E9}"/>
              </a:ext>
            </a:extLst>
          </p:cNvPr>
          <p:cNvSpPr/>
          <p:nvPr/>
        </p:nvSpPr>
        <p:spPr>
          <a:xfrm>
            <a:off x="2064812" y="2543665"/>
            <a:ext cx="130924" cy="378705"/>
          </a:xfrm>
          <a:prstGeom prst="rightBrace">
            <a:avLst>
              <a:gd name="adj1" fmla="val 58333"/>
              <a:gd name="adj2" fmla="val 50000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Chave Direita 12">
            <a:extLst>
              <a:ext uri="{FF2B5EF4-FFF2-40B4-BE49-F238E27FC236}">
                <a16:creationId xmlns:a16="http://schemas.microsoft.com/office/drawing/2014/main" id="{A74C71B0-9C74-49D6-B000-1D2E26E3B387}"/>
              </a:ext>
            </a:extLst>
          </p:cNvPr>
          <p:cNvSpPr/>
          <p:nvPr/>
        </p:nvSpPr>
        <p:spPr>
          <a:xfrm>
            <a:off x="2064812" y="3064363"/>
            <a:ext cx="130924" cy="378705"/>
          </a:xfrm>
          <a:prstGeom prst="rightBrace">
            <a:avLst>
              <a:gd name="adj1" fmla="val 58333"/>
              <a:gd name="adj2" fmla="val 50000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Chave Direita 13">
            <a:extLst>
              <a:ext uri="{FF2B5EF4-FFF2-40B4-BE49-F238E27FC236}">
                <a16:creationId xmlns:a16="http://schemas.microsoft.com/office/drawing/2014/main" id="{5534475B-2414-4F53-BCA9-99E6E21D1B50}"/>
              </a:ext>
            </a:extLst>
          </p:cNvPr>
          <p:cNvSpPr/>
          <p:nvPr/>
        </p:nvSpPr>
        <p:spPr>
          <a:xfrm>
            <a:off x="2064812" y="3624817"/>
            <a:ext cx="130924" cy="378705"/>
          </a:xfrm>
          <a:prstGeom prst="rightBrace">
            <a:avLst>
              <a:gd name="adj1" fmla="val 58333"/>
              <a:gd name="adj2" fmla="val 50000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have Direita 14">
            <a:extLst>
              <a:ext uri="{FF2B5EF4-FFF2-40B4-BE49-F238E27FC236}">
                <a16:creationId xmlns:a16="http://schemas.microsoft.com/office/drawing/2014/main" id="{58625797-75E8-41D7-B992-1DDECDB2BBD7}"/>
              </a:ext>
            </a:extLst>
          </p:cNvPr>
          <p:cNvSpPr/>
          <p:nvPr/>
        </p:nvSpPr>
        <p:spPr>
          <a:xfrm>
            <a:off x="2064812" y="4165865"/>
            <a:ext cx="130924" cy="892968"/>
          </a:xfrm>
          <a:prstGeom prst="rightBrace">
            <a:avLst>
              <a:gd name="adj1" fmla="val 58333"/>
              <a:gd name="adj2" fmla="val 50000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ED15610E-EE13-488D-9CDC-AF9DF03F143C}"/>
              </a:ext>
            </a:extLst>
          </p:cNvPr>
          <p:cNvSpPr/>
          <p:nvPr/>
        </p:nvSpPr>
        <p:spPr>
          <a:xfrm>
            <a:off x="2599046" y="2606841"/>
            <a:ext cx="6544954" cy="2092881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r>
              <a:rPr lang="pt-BR" b="1" u="sng" dirty="0" smtClean="0">
                <a:solidFill>
                  <a:schemeClr val="bg1"/>
                </a:solidFill>
              </a:rPr>
              <a:t>Término - Início </a:t>
            </a:r>
            <a:r>
              <a:rPr lang="pt-BR" b="1" u="sng" dirty="0">
                <a:solidFill>
                  <a:schemeClr val="bg1"/>
                </a:solidFill>
              </a:rPr>
              <a:t>(TI)</a:t>
            </a:r>
            <a:r>
              <a:rPr lang="pt-BR" u="sng" dirty="0">
                <a:solidFill>
                  <a:schemeClr val="bg1"/>
                </a:solidFill>
              </a:rPr>
              <a:t>: </a:t>
            </a:r>
          </a:p>
          <a:p>
            <a:r>
              <a:rPr lang="pt-BR" dirty="0">
                <a:solidFill>
                  <a:schemeClr val="bg1"/>
                </a:solidFill>
              </a:rPr>
              <a:t>Exemplo: Inserir o cartão de crédito / digitar senha.</a:t>
            </a:r>
          </a:p>
          <a:p>
            <a:endParaRPr lang="pt-BR" dirty="0">
              <a:solidFill>
                <a:schemeClr val="bg1"/>
              </a:solidFill>
            </a:endParaRPr>
          </a:p>
          <a:p>
            <a:r>
              <a:rPr lang="pt-BR" b="1" u="sng" dirty="0">
                <a:solidFill>
                  <a:schemeClr val="bg1"/>
                </a:solidFill>
              </a:rPr>
              <a:t>Início </a:t>
            </a:r>
            <a:r>
              <a:rPr lang="pt-BR" b="1" u="sng" dirty="0" smtClean="0">
                <a:solidFill>
                  <a:schemeClr val="bg1"/>
                </a:solidFill>
              </a:rPr>
              <a:t>- </a:t>
            </a:r>
            <a:r>
              <a:rPr lang="pt-BR" b="1" u="sng" dirty="0" smtClean="0">
                <a:solidFill>
                  <a:schemeClr val="bg1"/>
                </a:solidFill>
              </a:rPr>
              <a:t>Início </a:t>
            </a:r>
            <a:r>
              <a:rPr lang="pt-BR" b="1" u="sng" dirty="0">
                <a:solidFill>
                  <a:schemeClr val="bg1"/>
                </a:solidFill>
              </a:rPr>
              <a:t>(II)</a:t>
            </a:r>
            <a:r>
              <a:rPr lang="pt-BR" u="sng" dirty="0">
                <a:solidFill>
                  <a:schemeClr val="bg1"/>
                </a:solidFill>
              </a:rPr>
              <a:t>: </a:t>
            </a:r>
          </a:p>
          <a:p>
            <a:r>
              <a:rPr lang="pt-BR" dirty="0">
                <a:solidFill>
                  <a:schemeClr val="bg1"/>
                </a:solidFill>
              </a:rPr>
              <a:t>Exemplo: Você só pode dar início a divulgação de uma promoção nas redes sociais quando a mesma já tiver iniciado na loja física.</a:t>
            </a:r>
          </a:p>
          <a:p>
            <a:endParaRPr lang="pt-BR" dirty="0">
              <a:solidFill>
                <a:schemeClr val="bg1"/>
              </a:solidFill>
            </a:endParaRPr>
          </a:p>
          <a:p>
            <a:r>
              <a:rPr lang="pt-BR" b="1" u="sng" dirty="0">
                <a:solidFill>
                  <a:schemeClr val="bg1"/>
                </a:solidFill>
              </a:rPr>
              <a:t>Término </a:t>
            </a:r>
            <a:r>
              <a:rPr lang="pt-BR" b="1" u="sng" dirty="0" smtClean="0">
                <a:solidFill>
                  <a:schemeClr val="bg1"/>
                </a:solidFill>
              </a:rPr>
              <a:t>- Término </a:t>
            </a:r>
            <a:r>
              <a:rPr lang="pt-BR" b="1" u="sng" dirty="0">
                <a:solidFill>
                  <a:schemeClr val="bg1"/>
                </a:solidFill>
              </a:rPr>
              <a:t>(TT)</a:t>
            </a:r>
            <a:r>
              <a:rPr lang="pt-BR" u="sng" dirty="0">
                <a:solidFill>
                  <a:schemeClr val="bg1"/>
                </a:solidFill>
              </a:rPr>
              <a:t>: </a:t>
            </a:r>
          </a:p>
          <a:p>
            <a:r>
              <a:rPr lang="pt-BR" dirty="0">
                <a:solidFill>
                  <a:schemeClr val="bg1"/>
                </a:solidFill>
              </a:rPr>
              <a:t>Exemplo: Existem campanhas publicitárias que só acabam quando acabam o estoque, isso vincula diretamente o término da campanha ao término do estoque.</a:t>
            </a:r>
          </a:p>
        </p:txBody>
      </p:sp>
    </p:spTree>
    <p:extLst>
      <p:ext uri="{BB962C8B-B14F-4D97-AF65-F5344CB8AC3E}">
        <p14:creationId xmlns:p14="http://schemas.microsoft.com/office/powerpoint/2010/main" val="1450150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415D442D-9C19-4FFF-A008-0FF1CBF2D4C3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ncipais componentes</a:t>
            </a:r>
          </a:p>
        </p:txBody>
      </p:sp>
      <p:pic>
        <p:nvPicPr>
          <p:cNvPr id="24578" name="Picture 2" descr="Resultado de imagem para microsoft project exemplo">
            <a:extLst>
              <a:ext uri="{FF2B5EF4-FFF2-40B4-BE49-F238E27FC236}">
                <a16:creationId xmlns:a16="http://schemas.microsoft.com/office/drawing/2014/main" id="{1E33F9FB-0F92-44B6-B3CB-95C43406F6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03623"/>
            <a:ext cx="9144000" cy="412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EFC703EA-C421-4D45-B8D6-A8E8C858A9D5}"/>
              </a:ext>
            </a:extLst>
          </p:cNvPr>
          <p:cNvSpPr txBox="1"/>
          <p:nvPr/>
        </p:nvSpPr>
        <p:spPr>
          <a:xfrm>
            <a:off x="2195736" y="-596602"/>
            <a:ext cx="31683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FF0000"/>
                </a:solidFill>
              </a:rPr>
              <a:t>Atividades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5AC6AC8E-3650-47FE-9BB8-F37E4D04B5C3}"/>
              </a:ext>
            </a:extLst>
          </p:cNvPr>
          <p:cNvSpPr/>
          <p:nvPr/>
        </p:nvSpPr>
        <p:spPr>
          <a:xfrm>
            <a:off x="539552" y="2715766"/>
            <a:ext cx="5040560" cy="2416944"/>
          </a:xfrm>
          <a:prstGeom prst="rect">
            <a:avLst/>
          </a:prstGeom>
          <a:solidFill>
            <a:srgbClr val="FBFBFB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569EE82A-6580-4496-A743-F7F745A6C873}"/>
              </a:ext>
            </a:extLst>
          </p:cNvPr>
          <p:cNvSpPr/>
          <p:nvPr/>
        </p:nvSpPr>
        <p:spPr>
          <a:xfrm>
            <a:off x="5580112" y="2067694"/>
            <a:ext cx="3563888" cy="3075806"/>
          </a:xfrm>
          <a:prstGeom prst="rect">
            <a:avLst/>
          </a:prstGeom>
          <a:solidFill>
            <a:srgbClr val="FBFBFB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66437B5-1F72-46D4-B516-AC734FD4442E}"/>
              </a:ext>
            </a:extLst>
          </p:cNvPr>
          <p:cNvSpPr/>
          <p:nvPr/>
        </p:nvSpPr>
        <p:spPr>
          <a:xfrm>
            <a:off x="603507" y="2021086"/>
            <a:ext cx="1016165" cy="22944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254CDE01-4434-463B-A5A8-9FD604E6A8C5}"/>
              </a:ext>
            </a:extLst>
          </p:cNvPr>
          <p:cNvSpPr/>
          <p:nvPr/>
        </p:nvSpPr>
        <p:spPr>
          <a:xfrm>
            <a:off x="2132294" y="2021086"/>
            <a:ext cx="521453" cy="22944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A4CA0D22-4F3C-4CCA-86B6-74108A836FF4}"/>
              </a:ext>
            </a:extLst>
          </p:cNvPr>
          <p:cNvSpPr/>
          <p:nvPr/>
        </p:nvSpPr>
        <p:spPr>
          <a:xfrm>
            <a:off x="2771800" y="2021086"/>
            <a:ext cx="521453" cy="22944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509667A8-8038-4C99-B034-DC39BDFA28B8}"/>
              </a:ext>
            </a:extLst>
          </p:cNvPr>
          <p:cNvSpPr/>
          <p:nvPr/>
        </p:nvSpPr>
        <p:spPr>
          <a:xfrm>
            <a:off x="3387516" y="2021086"/>
            <a:ext cx="521453" cy="22944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737D0573-93F2-4C81-8B12-A3C30AF3A0A0}"/>
              </a:ext>
            </a:extLst>
          </p:cNvPr>
          <p:cNvSpPr/>
          <p:nvPr/>
        </p:nvSpPr>
        <p:spPr>
          <a:xfrm>
            <a:off x="4006987" y="2021086"/>
            <a:ext cx="430953" cy="22944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529BF693-A59B-45D2-89F7-F5AF5A976E4C}"/>
              </a:ext>
            </a:extLst>
          </p:cNvPr>
          <p:cNvSpPr/>
          <p:nvPr/>
        </p:nvSpPr>
        <p:spPr>
          <a:xfrm>
            <a:off x="4410285" y="2021086"/>
            <a:ext cx="839805" cy="22944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629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415D442D-9C19-4FFF-A008-0FF1CBF2D4C3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ncipais componentes</a:t>
            </a:r>
          </a:p>
        </p:txBody>
      </p:sp>
      <p:pic>
        <p:nvPicPr>
          <p:cNvPr id="24578" name="Picture 2" descr="Resultado de imagem para microsoft project exemplo">
            <a:extLst>
              <a:ext uri="{FF2B5EF4-FFF2-40B4-BE49-F238E27FC236}">
                <a16:creationId xmlns:a16="http://schemas.microsoft.com/office/drawing/2014/main" id="{1E33F9FB-0F92-44B6-B3CB-95C43406F6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03623"/>
            <a:ext cx="9144000" cy="412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5AC6AC8E-3650-47FE-9BB8-F37E4D04B5C3}"/>
              </a:ext>
            </a:extLst>
          </p:cNvPr>
          <p:cNvSpPr/>
          <p:nvPr/>
        </p:nvSpPr>
        <p:spPr>
          <a:xfrm>
            <a:off x="539552" y="2067694"/>
            <a:ext cx="4968552" cy="3065016"/>
          </a:xfrm>
          <a:prstGeom prst="rect">
            <a:avLst/>
          </a:prstGeom>
          <a:solidFill>
            <a:srgbClr val="FBFBFB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EFC703EA-C421-4D45-B8D6-A8E8C858A9D5}"/>
              </a:ext>
            </a:extLst>
          </p:cNvPr>
          <p:cNvSpPr txBox="1"/>
          <p:nvPr/>
        </p:nvSpPr>
        <p:spPr>
          <a:xfrm>
            <a:off x="2879304" y="2571750"/>
            <a:ext cx="31683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FF0000"/>
                </a:solidFill>
              </a:rPr>
              <a:t>Diagrama de </a:t>
            </a:r>
            <a:r>
              <a:rPr lang="pt-BR" sz="1600" b="1" dirty="0" err="1">
                <a:solidFill>
                  <a:srgbClr val="FF0000"/>
                </a:solidFill>
              </a:rPr>
              <a:t>Gantt</a:t>
            </a:r>
            <a:endParaRPr lang="pt-BR" sz="1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315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Resultado de imagem para microsoft project exemplo">
            <a:extLst>
              <a:ext uri="{FF2B5EF4-FFF2-40B4-BE49-F238E27FC236}">
                <a16:creationId xmlns:a16="http://schemas.microsoft.com/office/drawing/2014/main" id="{1E33F9FB-0F92-44B6-B3CB-95C43406F6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37" t="24026"/>
          <a:stretch/>
        </p:blipFill>
        <p:spPr bwMode="auto">
          <a:xfrm>
            <a:off x="1979712" y="0"/>
            <a:ext cx="5940152" cy="5125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EFC703EA-C421-4D45-B8D6-A8E8C858A9D5}"/>
              </a:ext>
            </a:extLst>
          </p:cNvPr>
          <p:cNvSpPr txBox="1"/>
          <p:nvPr/>
        </p:nvSpPr>
        <p:spPr>
          <a:xfrm>
            <a:off x="3419872" y="-668610"/>
            <a:ext cx="31683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FF0000"/>
                </a:solidFill>
              </a:rPr>
              <a:t>Diagrama de </a:t>
            </a:r>
            <a:r>
              <a:rPr lang="pt-BR" sz="1600" b="1" dirty="0" err="1">
                <a:solidFill>
                  <a:srgbClr val="FF0000"/>
                </a:solidFill>
              </a:rPr>
              <a:t>Gantt</a:t>
            </a:r>
            <a:endParaRPr lang="pt-BR" sz="1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66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059832" y="2139702"/>
            <a:ext cx="30243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a </a:t>
            </a:r>
            <a:r>
              <a:rPr lang="pt-BR" sz="2800" b="1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lüber</a:t>
            </a:r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3967538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ítulo 1"/>
          <p:cNvSpPr txBox="1">
            <a:spLocks/>
          </p:cNvSpPr>
          <p:nvPr/>
        </p:nvSpPr>
        <p:spPr>
          <a:xfrm>
            <a:off x="251520" y="403027"/>
            <a:ext cx="6331926" cy="440531"/>
          </a:xfrm>
          <a:prstGeom prst="rect">
            <a:avLst/>
          </a:prstGeom>
        </p:spPr>
        <p:txBody>
          <a:bodyPr lIns="77925" tIns="38963" rIns="77925" bIns="38963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imeline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6" name="Datumsplatzhalter 4"/>
          <p:cNvSpPr>
            <a:spLocks noGrp="1"/>
          </p:cNvSpPr>
          <p:nvPr>
            <p:ph type="dt" sz="half" idx="4294967295"/>
          </p:nvPr>
        </p:nvSpPr>
        <p:spPr>
          <a:xfrm>
            <a:off x="352425" y="39688"/>
            <a:ext cx="773113" cy="1873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389626" rtl="0" eaLnBrk="1" fontAlgn="base" latinLnBrk="0" hangingPunct="1">
              <a:lnSpc>
                <a:spcPts val="75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906D6FD-52A8-4877-A76F-12AA71901FE6}" type="datetime1">
              <a:rPr kumimoji="0" lang="de-DE" altLang="de-DE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/>
              </a:rPr>
              <a:pPr marL="0" marR="0" lvl="0" indent="0" algn="l" defTabSz="389626" rtl="0" eaLnBrk="1" fontAlgn="base" latinLnBrk="0" hangingPunct="1">
                <a:lnSpc>
                  <a:spcPts val="75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.06.2018</a:t>
            </a:fld>
            <a:endParaRPr kumimoji="0" lang="de-DE" altLang="de-DE" sz="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/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1335088" y="39688"/>
            <a:ext cx="555625" cy="1873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389626" rtl="0" eaLnBrk="1" fontAlgn="base" latinLnBrk="0" hangingPunct="1">
              <a:lnSpc>
                <a:spcPts val="75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rPr>
              <a:t>/ Slide </a:t>
            </a:r>
            <a:fld id="{6E5B58BE-19C4-3F4F-B830-08257C405AA1}" type="slidenum">
              <a:rPr kumimoji="0" lang="de-DE" altLang="de-DE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rPr>
              <a:pPr marL="0" marR="0" lvl="0" indent="0" algn="l" defTabSz="389626" rtl="0" eaLnBrk="1" fontAlgn="base" latinLnBrk="0" hangingPunct="1">
                <a:lnSpc>
                  <a:spcPts val="75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de-DE" altLang="de-DE" sz="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  <p:graphicFrame>
        <p:nvGraphicFramePr>
          <p:cNvPr id="92" name="Tabelle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0582004"/>
              </p:ext>
            </p:extLst>
          </p:nvPr>
        </p:nvGraphicFramePr>
        <p:xfrm>
          <a:off x="107503" y="1138872"/>
          <a:ext cx="8928994" cy="359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5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7269">
                  <a:extLst>
                    <a:ext uri="{9D8B030D-6E8A-4147-A177-3AD203B41FA5}">
                      <a16:colId xmlns:a16="http://schemas.microsoft.com/office/drawing/2014/main" val="3456520101"/>
                    </a:ext>
                  </a:extLst>
                </a:gridCol>
                <a:gridCol w="4008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81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812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022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271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0812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0176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6947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398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9159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9159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9159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91596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28423">
                <a:tc>
                  <a:txBody>
                    <a:bodyPr/>
                    <a:lstStyle/>
                    <a:p>
                      <a:r>
                        <a:rPr lang="de-DE" sz="900" dirty="0">
                          <a:solidFill>
                            <a:schemeClr val="tx1"/>
                          </a:solidFill>
                        </a:rPr>
                        <a:t>Milestone</a:t>
                      </a:r>
                      <a:r>
                        <a:rPr lang="de-DE" sz="900" baseline="0" dirty="0">
                          <a:solidFill>
                            <a:schemeClr val="tx1"/>
                          </a:solidFill>
                        </a:rPr>
                        <a:t> / Task</a:t>
                      </a:r>
                      <a:endParaRPr lang="de-DE" sz="900" dirty="0">
                        <a:solidFill>
                          <a:schemeClr val="tx1"/>
                        </a:solidFill>
                      </a:endParaRP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sp.</a:t>
                      </a:r>
                      <a:endParaRPr lang="en-US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7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c</a:t>
                      </a:r>
                      <a:endParaRPr lang="en-US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Feb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Mar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Apr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May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Jun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Jul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Aug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Sep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Oct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Nov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Dec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r>
                        <a:rPr lang="de-DE" sz="900" b="0" dirty="0"/>
                        <a:t>Milestone 1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lvl="1"/>
                      <a:r>
                        <a:rPr lang="de-DE" sz="900" b="0" dirty="0"/>
                        <a:t>Atividade 1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dirty="0"/>
                        <a:t>Pessoa1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dirty="0"/>
                        <a:t>Atividade 2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dirty="0"/>
                        <a:t>Pessoa2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lvl="1"/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00" name="Text Box 154"/>
          <p:cNvSpPr txBox="1">
            <a:spLocks noChangeArrowheads="1"/>
          </p:cNvSpPr>
          <p:nvPr/>
        </p:nvSpPr>
        <p:spPr bwMode="auto">
          <a:xfrm>
            <a:off x="332929" y="4895056"/>
            <a:ext cx="1967503" cy="218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marL="285750" indent="-285750" defTabSz="7620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7620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7620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7620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7620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7620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7620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7620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7620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85750" marR="0" lvl="0" indent="-285750" algn="l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/>
              </a:rPr>
              <a:t>Steering Committee Meeting</a:t>
            </a:r>
          </a:p>
        </p:txBody>
      </p:sp>
      <p:sp>
        <p:nvSpPr>
          <p:cNvPr id="101" name="Oval 164"/>
          <p:cNvSpPr>
            <a:spLocks noChangeArrowheads="1"/>
          </p:cNvSpPr>
          <p:nvPr/>
        </p:nvSpPr>
        <p:spPr bwMode="auto">
          <a:xfrm>
            <a:off x="196362" y="4967139"/>
            <a:ext cx="127084" cy="129038"/>
          </a:xfrm>
          <a:prstGeom prst="ellipse">
            <a:avLst/>
          </a:prstGeom>
          <a:solidFill>
            <a:srgbClr val="FF6600"/>
          </a:solidFill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7059F69A-CAA6-490F-B2EB-F9D9D6F9AC01}"/>
              </a:ext>
            </a:extLst>
          </p:cNvPr>
          <p:cNvSpPr/>
          <p:nvPr/>
        </p:nvSpPr>
        <p:spPr bwMode="auto">
          <a:xfrm>
            <a:off x="4651437" y="1675040"/>
            <a:ext cx="1656184" cy="147547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pitchFamily="18" charset="0"/>
              <a:buNone/>
              <a:tabLst/>
            </a:pPr>
            <a:endParaRPr kumimoji="0" lang="pt-BR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71056CF2-DC54-4021-AC76-7B859311E0E9}"/>
              </a:ext>
            </a:extLst>
          </p:cNvPr>
          <p:cNvSpPr/>
          <p:nvPr/>
        </p:nvSpPr>
        <p:spPr bwMode="auto">
          <a:xfrm>
            <a:off x="5049577" y="1954559"/>
            <a:ext cx="1656184" cy="147547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pitchFamily="18" charset="0"/>
              <a:buNone/>
              <a:tabLst/>
            </a:pPr>
            <a:endParaRPr kumimoji="0" lang="pt-BR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0" name="Oval 164">
            <a:extLst>
              <a:ext uri="{FF2B5EF4-FFF2-40B4-BE49-F238E27FC236}">
                <a16:creationId xmlns:a16="http://schemas.microsoft.com/office/drawing/2014/main" id="{A6645841-271F-454B-BC2B-AAEF5CB119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1780" y="1933203"/>
            <a:ext cx="186063" cy="171750"/>
          </a:xfrm>
          <a:prstGeom prst="ellipse">
            <a:avLst/>
          </a:prstGeom>
          <a:solidFill>
            <a:srgbClr val="FF6600"/>
          </a:solidFill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5846622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ítulo 1"/>
          <p:cNvSpPr txBox="1">
            <a:spLocks/>
          </p:cNvSpPr>
          <p:nvPr/>
        </p:nvSpPr>
        <p:spPr>
          <a:xfrm>
            <a:off x="251520" y="403027"/>
            <a:ext cx="6331926" cy="440531"/>
          </a:xfrm>
          <a:prstGeom prst="rect">
            <a:avLst/>
          </a:prstGeom>
        </p:spPr>
        <p:txBody>
          <a:bodyPr lIns="77925" tIns="38963" rIns="77925" bIns="38963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imeline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6" name="Datumsplatzhalter 4"/>
          <p:cNvSpPr>
            <a:spLocks noGrp="1"/>
          </p:cNvSpPr>
          <p:nvPr>
            <p:ph type="dt" sz="half" idx="4294967295"/>
          </p:nvPr>
        </p:nvSpPr>
        <p:spPr>
          <a:xfrm>
            <a:off x="352425" y="39688"/>
            <a:ext cx="773113" cy="1873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389626" rtl="0" eaLnBrk="1" fontAlgn="base" latinLnBrk="0" hangingPunct="1">
              <a:lnSpc>
                <a:spcPts val="75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906D6FD-52A8-4877-A76F-12AA71901FE6}" type="datetime1">
              <a:rPr kumimoji="0" lang="de-DE" altLang="de-DE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/>
              </a:rPr>
              <a:pPr marL="0" marR="0" lvl="0" indent="0" algn="l" defTabSz="389626" rtl="0" eaLnBrk="1" fontAlgn="base" latinLnBrk="0" hangingPunct="1">
                <a:lnSpc>
                  <a:spcPts val="75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.06.2018</a:t>
            </a:fld>
            <a:endParaRPr kumimoji="0" lang="de-DE" altLang="de-DE" sz="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/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1335088" y="39688"/>
            <a:ext cx="555625" cy="1873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389626" rtl="0" eaLnBrk="1" fontAlgn="base" latinLnBrk="0" hangingPunct="1">
              <a:lnSpc>
                <a:spcPts val="75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rPr>
              <a:t>/ Slide </a:t>
            </a:r>
            <a:fld id="{6E5B58BE-19C4-3F4F-B830-08257C405AA1}" type="slidenum">
              <a:rPr kumimoji="0" lang="de-DE" altLang="de-DE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rPr>
              <a:pPr marL="0" marR="0" lvl="0" indent="0" algn="l" defTabSz="389626" rtl="0" eaLnBrk="1" fontAlgn="base" latinLnBrk="0" hangingPunct="1">
                <a:lnSpc>
                  <a:spcPts val="75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de-DE" altLang="de-DE" sz="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  <p:graphicFrame>
        <p:nvGraphicFramePr>
          <p:cNvPr id="92" name="Tabelle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6909690"/>
              </p:ext>
            </p:extLst>
          </p:nvPr>
        </p:nvGraphicFramePr>
        <p:xfrm>
          <a:off x="107503" y="1138872"/>
          <a:ext cx="8928994" cy="359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5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7269">
                  <a:extLst>
                    <a:ext uri="{9D8B030D-6E8A-4147-A177-3AD203B41FA5}">
                      <a16:colId xmlns:a16="http://schemas.microsoft.com/office/drawing/2014/main" val="3456520101"/>
                    </a:ext>
                  </a:extLst>
                </a:gridCol>
                <a:gridCol w="4008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81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812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022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271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0812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0176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6947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398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9159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9159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9159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91596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28423">
                <a:tc>
                  <a:txBody>
                    <a:bodyPr/>
                    <a:lstStyle/>
                    <a:p>
                      <a:r>
                        <a:rPr lang="de-DE" sz="900" dirty="0">
                          <a:solidFill>
                            <a:schemeClr val="tx1"/>
                          </a:solidFill>
                        </a:rPr>
                        <a:t>Milestone</a:t>
                      </a:r>
                      <a:r>
                        <a:rPr lang="de-DE" sz="900" baseline="0" dirty="0">
                          <a:solidFill>
                            <a:schemeClr val="tx1"/>
                          </a:solidFill>
                        </a:rPr>
                        <a:t> / Task</a:t>
                      </a:r>
                      <a:endParaRPr lang="de-DE" sz="900" dirty="0">
                        <a:solidFill>
                          <a:schemeClr val="tx1"/>
                        </a:solidFill>
                      </a:endParaRP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sp.</a:t>
                      </a:r>
                      <a:endParaRPr lang="en-US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7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c</a:t>
                      </a:r>
                      <a:endParaRPr lang="en-US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Feb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Mar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Apr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May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Jun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Jul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Aug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Sep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Oct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Nov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700" dirty="0">
                          <a:solidFill>
                            <a:schemeClr val="tx1"/>
                          </a:solidFill>
                        </a:rPr>
                        <a:t>Dec</a:t>
                      </a:r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lvl="1"/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lvl="1"/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3643">
                <a:tc>
                  <a:txBody>
                    <a:bodyPr/>
                    <a:lstStyle/>
                    <a:p>
                      <a:pPr marL="3429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91454" marR="91454" marT="45742" marB="4574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00" name="Text Box 154"/>
          <p:cNvSpPr txBox="1">
            <a:spLocks noChangeArrowheads="1"/>
          </p:cNvSpPr>
          <p:nvPr/>
        </p:nvSpPr>
        <p:spPr bwMode="auto">
          <a:xfrm>
            <a:off x="332929" y="4895056"/>
            <a:ext cx="1967503" cy="218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marL="285750" indent="-285750" defTabSz="7620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7620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7620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7620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76200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7620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7620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7620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7620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85750" marR="0" lvl="0" indent="-285750" algn="l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/>
              </a:rPr>
              <a:t>Steering Committee Meeting</a:t>
            </a:r>
          </a:p>
        </p:txBody>
      </p:sp>
      <p:sp>
        <p:nvSpPr>
          <p:cNvPr id="101" name="Oval 164"/>
          <p:cNvSpPr>
            <a:spLocks noChangeArrowheads="1"/>
          </p:cNvSpPr>
          <p:nvPr/>
        </p:nvSpPr>
        <p:spPr bwMode="auto">
          <a:xfrm>
            <a:off x="196362" y="4967139"/>
            <a:ext cx="127084" cy="129038"/>
          </a:xfrm>
          <a:prstGeom prst="ellipse">
            <a:avLst/>
          </a:prstGeom>
          <a:solidFill>
            <a:srgbClr val="FF6600"/>
          </a:solidFill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7202258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estão de risco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23BF6F56-B116-4AB1-9AD0-2D63B321EC9E}"/>
              </a:ext>
            </a:extLst>
          </p:cNvPr>
          <p:cNvSpPr/>
          <p:nvPr/>
        </p:nvSpPr>
        <p:spPr>
          <a:xfrm>
            <a:off x="313046" y="1525339"/>
            <a:ext cx="8291402" cy="115467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m risco é todo evento que pode impactar o projeto, para o bem e para o mau. </a:t>
            </a:r>
          </a:p>
          <a:p>
            <a:pPr>
              <a:lnSpc>
                <a:spcPct val="150000"/>
              </a:lnSpc>
            </a:pPr>
            <a:r>
              <a:rPr lang="pt-BR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e o risco pode é benéfico ao projeto, chama-se oportunidade. </a:t>
            </a:r>
          </a:p>
          <a:p>
            <a:pPr>
              <a:lnSpc>
                <a:spcPct val="150000"/>
              </a:lnSpc>
            </a:pPr>
            <a:r>
              <a:rPr lang="pt-BR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ormalmente associamos a palavra "risco" a </a:t>
            </a:r>
            <a:r>
              <a:rPr lang="pt-BR" sz="16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nseqüências</a:t>
            </a:r>
            <a:r>
              <a:rPr lang="pt-BR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negativas</a:t>
            </a:r>
          </a:p>
        </p:txBody>
      </p:sp>
    </p:spTree>
    <p:extLst>
      <p:ext uri="{BB962C8B-B14F-4D97-AF65-F5344CB8AC3E}">
        <p14:creationId xmlns:p14="http://schemas.microsoft.com/office/powerpoint/2010/main" val="470695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5211518E-0002-4E95-B3E4-14717A801A85}"/>
              </a:ext>
            </a:extLst>
          </p:cNvPr>
          <p:cNvSpPr/>
          <p:nvPr/>
        </p:nvSpPr>
        <p:spPr>
          <a:xfrm>
            <a:off x="313046" y="1611753"/>
            <a:ext cx="1882690" cy="6924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CBBD303E-DFBC-4CCC-A665-26C2865FE04B}"/>
              </a:ext>
            </a:extLst>
          </p:cNvPr>
          <p:cNvSpPr/>
          <p:nvPr/>
        </p:nvSpPr>
        <p:spPr>
          <a:xfrm>
            <a:off x="2267744" y="1611753"/>
            <a:ext cx="6563210" cy="6924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B1BAD08A-33D7-4B92-ACFB-CE55FEEA5AC4}"/>
              </a:ext>
            </a:extLst>
          </p:cNvPr>
          <p:cNvSpPr/>
          <p:nvPr/>
        </p:nvSpPr>
        <p:spPr>
          <a:xfrm>
            <a:off x="313046" y="2414013"/>
            <a:ext cx="1882690" cy="69249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CD8F10EC-A541-493E-8366-93CEDA884F3C}"/>
              </a:ext>
            </a:extLst>
          </p:cNvPr>
          <p:cNvSpPr/>
          <p:nvPr/>
        </p:nvSpPr>
        <p:spPr>
          <a:xfrm>
            <a:off x="2267744" y="2414013"/>
            <a:ext cx="6563210" cy="69249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161641BE-CFFA-403D-9565-A90A61F9FA96}"/>
              </a:ext>
            </a:extLst>
          </p:cNvPr>
          <p:cNvSpPr/>
          <p:nvPr/>
        </p:nvSpPr>
        <p:spPr>
          <a:xfrm>
            <a:off x="313046" y="3216273"/>
            <a:ext cx="1882690" cy="6924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FDCC95F8-8349-4612-B4FE-A75E195A97A9}"/>
              </a:ext>
            </a:extLst>
          </p:cNvPr>
          <p:cNvSpPr/>
          <p:nvPr/>
        </p:nvSpPr>
        <p:spPr>
          <a:xfrm>
            <a:off x="2267744" y="3216273"/>
            <a:ext cx="6563210" cy="6924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68A7ADF3-1A92-40AF-A47F-9EDD8A4BA118}"/>
              </a:ext>
            </a:extLst>
          </p:cNvPr>
          <p:cNvSpPr/>
          <p:nvPr/>
        </p:nvSpPr>
        <p:spPr>
          <a:xfrm>
            <a:off x="313046" y="4018533"/>
            <a:ext cx="1882690" cy="69249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A00666B9-68C8-4B1E-9353-6463FAFEB51D}"/>
              </a:ext>
            </a:extLst>
          </p:cNvPr>
          <p:cNvSpPr/>
          <p:nvPr/>
        </p:nvSpPr>
        <p:spPr>
          <a:xfrm>
            <a:off x="2267744" y="4018533"/>
            <a:ext cx="6563210" cy="69249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3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posta aos risco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A4C98FCE-15FC-40C5-978E-72CA2D9D6807}"/>
              </a:ext>
            </a:extLst>
          </p:cNvPr>
          <p:cNvSpPr txBox="1"/>
          <p:nvPr/>
        </p:nvSpPr>
        <p:spPr>
          <a:xfrm>
            <a:off x="2326570" y="1695119"/>
            <a:ext cx="58785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/>
                </a:solidFill>
              </a:rPr>
              <a:t>Desenvolver ações visando minimizar a probabilidade da ocorrência do risco ou do seu impacto no projeto.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CCB9926C-8374-4936-88BA-CEDCC46699BD}"/>
              </a:ext>
            </a:extLst>
          </p:cNvPr>
          <p:cNvSpPr txBox="1"/>
          <p:nvPr/>
        </p:nvSpPr>
        <p:spPr>
          <a:xfrm>
            <a:off x="2326570" y="2481151"/>
            <a:ext cx="58785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pt-BR" sz="1400" dirty="0"/>
              <a:t>Mudar o plano do projeto eliminando a condição que estava expondo o projeto a um risco específico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A6E11286-A08F-450F-B038-BED297B2773C}"/>
              </a:ext>
            </a:extLst>
          </p:cNvPr>
          <p:cNvSpPr txBox="1"/>
          <p:nvPr/>
        </p:nvSpPr>
        <p:spPr>
          <a:xfrm>
            <a:off x="2326570" y="3326033"/>
            <a:ext cx="58785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/>
                </a:solidFill>
              </a:rPr>
              <a:t>A criticidade do risco é baixa ou não se consegue atuar nele. Nestes casos planos de contingência podem ser úteis.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4010349A-E33C-42AC-854F-B059982DEBEA}"/>
              </a:ext>
            </a:extLst>
          </p:cNvPr>
          <p:cNvSpPr txBox="1"/>
          <p:nvPr/>
        </p:nvSpPr>
        <p:spPr>
          <a:xfrm>
            <a:off x="2326569" y="4069310"/>
            <a:ext cx="6429681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pt-BR" sz="1400" dirty="0"/>
              <a:t>Repassar as consequências do risco bem como a responsabilidade de resposta para quem está melhor preparado para lidar com o mesmo.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E84E481C-751F-41F7-BA74-61B7317D1EFC}"/>
              </a:ext>
            </a:extLst>
          </p:cNvPr>
          <p:cNvSpPr txBox="1"/>
          <p:nvPr/>
        </p:nvSpPr>
        <p:spPr>
          <a:xfrm>
            <a:off x="387750" y="1791929"/>
            <a:ext cx="175049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800" b="1" dirty="0">
                <a:solidFill>
                  <a:schemeClr val="bg1"/>
                </a:solidFill>
              </a:rPr>
              <a:t>Mitigar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26EB53B-29FD-4275-BF13-33A7538D9327}"/>
              </a:ext>
            </a:extLst>
          </p:cNvPr>
          <p:cNvSpPr txBox="1"/>
          <p:nvPr/>
        </p:nvSpPr>
        <p:spPr>
          <a:xfrm>
            <a:off x="387750" y="2610206"/>
            <a:ext cx="175049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800" b="1" dirty="0"/>
              <a:t>Eliminar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BF45D1C0-CB9A-46B9-89D8-7B9AACBDA640}"/>
              </a:ext>
            </a:extLst>
          </p:cNvPr>
          <p:cNvSpPr txBox="1"/>
          <p:nvPr/>
        </p:nvSpPr>
        <p:spPr>
          <a:xfrm>
            <a:off x="387750" y="3431490"/>
            <a:ext cx="175049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800" b="1" dirty="0">
                <a:solidFill>
                  <a:schemeClr val="bg1"/>
                </a:solidFill>
              </a:rPr>
              <a:t>Aceitar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ADDA8B1A-BB19-4C67-BD4B-7ED976DEEEAA}"/>
              </a:ext>
            </a:extLst>
          </p:cNvPr>
          <p:cNvSpPr txBox="1"/>
          <p:nvPr/>
        </p:nvSpPr>
        <p:spPr>
          <a:xfrm>
            <a:off x="387750" y="4165865"/>
            <a:ext cx="175049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800" b="1" dirty="0"/>
              <a:t>Transferir</a:t>
            </a:r>
          </a:p>
        </p:txBody>
      </p:sp>
      <p:pic>
        <p:nvPicPr>
          <p:cNvPr id="21" name="Picture 6" descr="Resultado de imagem para Risk">
            <a:extLst>
              <a:ext uri="{FF2B5EF4-FFF2-40B4-BE49-F238E27FC236}">
                <a16:creationId xmlns:a16="http://schemas.microsoft.com/office/drawing/2014/main" id="{FA20A2E5-D62C-4656-BF28-7BA910851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2596" y="749633"/>
            <a:ext cx="753789" cy="753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459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" grpId="0"/>
      <p:bldP spid="6" grpId="0"/>
      <p:bldP spid="7" grpId="0"/>
      <p:bldP spid="8" grpId="0"/>
      <p:bldP spid="9" grpId="0"/>
      <p:bldP spid="10" grpId="0"/>
      <p:bldP spid="11" grpId="0"/>
      <p:bldP spid="12" grpId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Datumsplatzhalt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633142" indent="-243516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974065" indent="-194813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363690" indent="-194813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753316" indent="-194813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142942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532568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2922194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311820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389626" rtl="0" eaLnBrk="1" fontAlgn="base" latinLnBrk="0" hangingPunct="1">
              <a:lnSpc>
                <a:spcPts val="75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490AF3-7E87-422C-AA52-4AE5BC88C5CA}" type="datetime1">
              <a:rPr kumimoji="0" lang="de-DE" altLang="de-DE" sz="700" b="0" i="0" u="none" strike="noStrike" kern="1200" cap="none" spc="0" normalizeH="0" baseline="0" noProof="0">
                <a:ln>
                  <a:noFill/>
                </a:ln>
                <a:solidFill>
                  <a:srgbClr val="656567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/>
              </a:rPr>
              <a:pPr marL="0" marR="0" lvl="0" indent="0" algn="l" defTabSz="389626" rtl="0" eaLnBrk="1" fontAlgn="base" latinLnBrk="0" hangingPunct="1">
                <a:lnSpc>
                  <a:spcPts val="75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.06.2018</a:t>
            </a:fld>
            <a:endParaRPr kumimoji="0" lang="de-DE" altLang="de-DE" sz="700" b="0" i="0" u="none" strike="noStrike" kern="1200" cap="none" spc="0" normalizeH="0" baseline="0" noProof="0">
              <a:ln>
                <a:noFill/>
              </a:ln>
              <a:solidFill>
                <a:srgbClr val="656567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/>
            </a:endParaRPr>
          </a:p>
        </p:txBody>
      </p:sp>
      <p:sp>
        <p:nvSpPr>
          <p:cNvPr id="7172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633142" indent="-243516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974065" indent="-194813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363690" indent="-194813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753316" indent="-194813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142942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532568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2922194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311820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389626" rtl="0" eaLnBrk="1" fontAlgn="base" latinLnBrk="0" hangingPunct="1">
              <a:lnSpc>
                <a:spcPts val="75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700" b="0" i="0" u="none" strike="noStrike" kern="1200" cap="none" spc="0" normalizeH="0" baseline="0" noProof="0">
                <a:ln>
                  <a:noFill/>
                </a:ln>
                <a:solidFill>
                  <a:srgbClr val="656567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/>
              </a:rPr>
              <a:t>/ Slide </a:t>
            </a:r>
            <a:fld id="{568184D5-30C0-47E1-BA0F-9FFD89058142}" type="slidenum">
              <a:rPr kumimoji="0" lang="de-DE" altLang="de-DE" sz="700" b="0" i="0" u="none" strike="noStrike" kern="1200" cap="none" spc="0" normalizeH="0" baseline="0" noProof="0">
                <a:ln>
                  <a:noFill/>
                </a:ln>
                <a:solidFill>
                  <a:srgbClr val="656567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/>
              </a:rPr>
              <a:pPr marL="0" marR="0" lvl="0" indent="0" algn="l" defTabSz="389626" rtl="0" eaLnBrk="1" fontAlgn="base" latinLnBrk="0" hangingPunct="1">
                <a:lnSpc>
                  <a:spcPts val="75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de-DE" altLang="de-DE" sz="700" b="0" i="0" u="none" strike="noStrike" kern="1200" cap="none" spc="0" normalizeH="0" baseline="0" noProof="0">
              <a:ln>
                <a:noFill/>
              </a:ln>
              <a:solidFill>
                <a:srgbClr val="656567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/>
            </a:endParaRP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3186621" y="1089489"/>
            <a:ext cx="2700194" cy="319864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Probability</a:t>
            </a:r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3186621" y="1456005"/>
            <a:ext cx="2700194" cy="1229577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pPr marL="190500" marR="0" lvl="0" indent="-19050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B8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59246" y="1089489"/>
            <a:ext cx="2700194" cy="319864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Risk</a:t>
            </a:r>
          </a:p>
        </p:txBody>
      </p:sp>
      <p:sp>
        <p:nvSpPr>
          <p:cNvPr id="17" name="Rectangle 9"/>
          <p:cNvSpPr>
            <a:spLocks noChangeArrowheads="1"/>
          </p:cNvSpPr>
          <p:nvPr/>
        </p:nvSpPr>
        <p:spPr bwMode="auto">
          <a:xfrm>
            <a:off x="59246" y="1456005"/>
            <a:ext cx="2700194" cy="1229577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pPr marL="190500" marR="0" lvl="0" indent="-19050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B8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6313996" y="1089489"/>
            <a:ext cx="2700194" cy="319864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Plan</a:t>
            </a:r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auto">
          <a:xfrm>
            <a:off x="6313996" y="1456005"/>
            <a:ext cx="2700194" cy="1229577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pPr marL="190500" marR="0" lvl="0" indent="-19050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B8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  <p:sp>
        <p:nvSpPr>
          <p:cNvPr id="27" name="Rectangle 2"/>
          <p:cNvSpPr>
            <a:spLocks noGrp="1" noChangeArrowheads="1"/>
          </p:cNvSpPr>
          <p:nvPr>
            <p:ph type="title"/>
          </p:nvPr>
        </p:nvSpPr>
        <p:spPr>
          <a:xfrm>
            <a:off x="360000" y="339502"/>
            <a:ext cx="6330950" cy="441325"/>
          </a:xfrm>
        </p:spPr>
        <p:txBody>
          <a:bodyPr/>
          <a:lstStyle/>
          <a:p>
            <a:pPr eaLnBrk="1" hangingPunct="1"/>
            <a:r>
              <a:rPr lang="en-GB" altLang="de-DE" sz="1500" dirty="0"/>
              <a:t>Risk plan</a:t>
            </a:r>
          </a:p>
        </p:txBody>
      </p:sp>
    </p:spTree>
    <p:extLst>
      <p:ext uri="{BB962C8B-B14F-4D97-AF65-F5344CB8AC3E}">
        <p14:creationId xmlns:p14="http://schemas.microsoft.com/office/powerpoint/2010/main" val="18629276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2">
            <a:extLst>
              <a:ext uri="{FF2B5EF4-FFF2-40B4-BE49-F238E27FC236}">
                <a16:creationId xmlns:a16="http://schemas.microsoft.com/office/drawing/2014/main" id="{1BE4D14F-88B7-48DB-AABE-218B8377B99A}"/>
              </a:ext>
            </a:extLst>
          </p:cNvPr>
          <p:cNvSpPr txBox="1">
            <a:spLocks/>
          </p:cNvSpPr>
          <p:nvPr/>
        </p:nvSpPr>
        <p:spPr>
          <a:xfrm>
            <a:off x="4211960" y="792088"/>
            <a:ext cx="4902819" cy="422793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 typeface="Times" charset="0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4938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333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333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7913" indent="-134938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216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645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074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50306" indent="-135731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pt-BR" sz="1800" b="1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oject Management </a:t>
            </a:r>
            <a:r>
              <a:rPr lang="pt-BR" sz="1800" b="1" kern="0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ody</a:t>
            </a:r>
            <a:r>
              <a:rPr lang="pt-BR" sz="1800" b="1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sz="1800" b="1" kern="0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f</a:t>
            </a:r>
            <a:r>
              <a:rPr lang="pt-BR" sz="1800" b="1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          </a:t>
            </a:r>
            <a:r>
              <a:rPr lang="pt-BR" sz="1800" b="1" kern="0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nowledge</a:t>
            </a:r>
            <a:r>
              <a:rPr lang="pt-BR" sz="1800" b="1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(PMBOK):</a:t>
            </a:r>
          </a:p>
          <a:p>
            <a:pPr marL="363538" indent="-363538" defTabSz="9144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pt-BR" sz="1800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É a soma dos conhecimentos em gerenciamento de projetos;</a:t>
            </a:r>
          </a:p>
          <a:p>
            <a:pPr marL="363538" indent="-363538" defTabSz="9144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pt-BR" sz="1800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clui práticas tradicionais comprovadas amplamente aplicadas, além de práticas inovadoras. Como resultado disso, está em constante evolução;</a:t>
            </a:r>
          </a:p>
          <a:p>
            <a:pPr marL="363538" indent="-363538" defTabSz="9144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pt-BR" sz="1800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 equipe de gerenciamento do projeto é responsável por determinar o que é adequado para um projeto específico.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57038310-2564-4A24-AE9A-8EAACDA87B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7984" y="33012"/>
            <a:ext cx="32035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2800" b="1" dirty="0">
                <a:solidFill>
                  <a:srgbClr val="000000"/>
                </a:solidFill>
                <a:latin typeface="Verdana" panose="020B0604030504040204" pitchFamily="34" charset="0"/>
              </a:rPr>
              <a:t>PMBOK </a:t>
            </a:r>
            <a:r>
              <a:rPr lang="pt-BR" altLang="pt-BR" sz="2800" b="1" dirty="0" err="1">
                <a:solidFill>
                  <a:srgbClr val="000000"/>
                </a:solidFill>
                <a:latin typeface="Verdana" panose="020B0604030504040204" pitchFamily="34" charset="0"/>
              </a:rPr>
              <a:t>Guide</a:t>
            </a:r>
            <a:r>
              <a:rPr lang="pt-BR" altLang="pt-BR" sz="2800" b="1" dirty="0">
                <a:solidFill>
                  <a:srgbClr val="000000"/>
                </a:solidFill>
                <a:latin typeface="Verdana" panose="020B0604030504040204" pitchFamily="34" charset="0"/>
              </a:rPr>
              <a:t> </a:t>
            </a:r>
          </a:p>
        </p:txBody>
      </p:sp>
      <p:pic>
        <p:nvPicPr>
          <p:cNvPr id="17410" name="Picture 2" descr="Resultado de imagem para PMBOK">
            <a:extLst>
              <a:ext uri="{FF2B5EF4-FFF2-40B4-BE49-F238E27FC236}">
                <a16:creationId xmlns:a16="http://schemas.microsoft.com/office/drawing/2014/main" id="{903897C1-99CA-4798-BEE9-97C8C443E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95086"/>
            <a:ext cx="3371850" cy="475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1043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Resultado de imagem para comunicaÃ§Ã£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764876"/>
            <a:ext cx="4824536" cy="3613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o de comunicação</a:t>
            </a:r>
          </a:p>
        </p:txBody>
      </p:sp>
    </p:spTree>
    <p:extLst>
      <p:ext uri="{BB962C8B-B14F-4D97-AF65-F5344CB8AC3E}">
        <p14:creationId xmlns:p14="http://schemas.microsoft.com/office/powerpoint/2010/main" val="3717997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peie seus stakeholde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23C957-0573-41FD-82B0-F882C67697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8437" y="1131590"/>
            <a:ext cx="8208144" cy="3288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numCol="2"/>
          <a:lstStyle>
            <a:lvl1pPr marL="341313" indent="-3413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trocinadores (</a:t>
            </a:r>
            <a:r>
              <a:rPr lang="en-US" altLang="pt-BR" sz="14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onsors</a:t>
            </a: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;</a:t>
            </a:r>
          </a:p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renciador do Projeto;</a:t>
            </a:r>
          </a:p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mbros da Equipe do Projeto (e seus familiares);</a:t>
            </a:r>
          </a:p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os organizacionais: diferentes áreas internas à organização;</a:t>
            </a:r>
          </a:p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rentes funcionais;</a:t>
            </a:r>
          </a:p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necedores e contratados de bens e serviços;</a:t>
            </a:r>
          </a:p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entes e usuários (internos e externos);</a:t>
            </a:r>
          </a:p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MO – </a:t>
            </a:r>
            <a:r>
              <a:rPr lang="pt-BR" altLang="pt-BR" sz="14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 Manager Officer;</a:t>
            </a:r>
            <a:endParaRPr lang="pt-BR" altLang="pt-BR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ultores;</a:t>
            </a:r>
          </a:p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verno: variadas esferas e setores;</a:t>
            </a:r>
          </a:p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idadãos e sociedade civil;</a:t>
            </a:r>
          </a:p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correntes.</a:t>
            </a:r>
          </a:p>
          <a:p>
            <a:pPr marL="363538" indent="-363538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altLang="pt-BR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9146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ua vez</a:t>
            </a:r>
          </a:p>
        </p:txBody>
      </p:sp>
      <p:pic>
        <p:nvPicPr>
          <p:cNvPr id="26628" name="Picture 4" descr="Resultado de imagem para i want you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8783" y="52337"/>
            <a:ext cx="3857433" cy="5183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5020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Datumsplatzhalt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633142" indent="-243516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974065" indent="-194813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363690" indent="-194813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753316" indent="-194813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142942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532568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2922194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311820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389626" rtl="0" eaLnBrk="1" fontAlgn="base" latinLnBrk="0" hangingPunct="1">
              <a:lnSpc>
                <a:spcPts val="75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490AF3-7E87-422C-AA52-4AE5BC88C5CA}" type="datetime1">
              <a:rPr kumimoji="0" lang="de-DE" altLang="de-DE" sz="700" b="0" i="0" u="none" strike="noStrike" kern="1200" cap="none" spc="0" normalizeH="0" baseline="0" noProof="0">
                <a:ln>
                  <a:noFill/>
                </a:ln>
                <a:solidFill>
                  <a:srgbClr val="656567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/>
              </a:rPr>
              <a:pPr marL="0" marR="0" lvl="0" indent="0" algn="l" defTabSz="389626" rtl="0" eaLnBrk="1" fontAlgn="base" latinLnBrk="0" hangingPunct="1">
                <a:lnSpc>
                  <a:spcPts val="75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.06.2018</a:t>
            </a:fld>
            <a:endParaRPr kumimoji="0" lang="de-DE" altLang="de-DE" sz="700" b="0" i="0" u="none" strike="noStrike" kern="1200" cap="none" spc="0" normalizeH="0" baseline="0" noProof="0">
              <a:ln>
                <a:noFill/>
              </a:ln>
              <a:solidFill>
                <a:srgbClr val="656567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/>
            </a:endParaRPr>
          </a:p>
        </p:txBody>
      </p:sp>
      <p:sp>
        <p:nvSpPr>
          <p:cNvPr id="7172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633142" indent="-243516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974065" indent="-194813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363690" indent="-194813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753316" indent="-194813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142942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532568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2922194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311820" indent="-194813" algn="ctr" eaLnBrk="0" fontAlgn="base" hangingPunct="0">
              <a:lnSpc>
                <a:spcPts val="1704"/>
              </a:lnSpc>
              <a:spcBef>
                <a:spcPct val="0"/>
              </a:spcBef>
              <a:spcAft>
                <a:spcPct val="0"/>
              </a:spcAft>
              <a:buFont typeface="Times" pitchFamily="18" charset="0"/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389626" rtl="0" eaLnBrk="1" fontAlgn="base" latinLnBrk="0" hangingPunct="1">
              <a:lnSpc>
                <a:spcPts val="75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700" b="0" i="0" u="none" strike="noStrike" kern="1200" cap="none" spc="0" normalizeH="0" baseline="0" noProof="0">
                <a:ln>
                  <a:noFill/>
                </a:ln>
                <a:solidFill>
                  <a:srgbClr val="656567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/>
              </a:rPr>
              <a:t>/ Slide </a:t>
            </a:r>
            <a:fld id="{568184D5-30C0-47E1-BA0F-9FFD89058142}" type="slidenum">
              <a:rPr kumimoji="0" lang="de-DE" altLang="de-DE" sz="700" b="0" i="0" u="none" strike="noStrike" kern="1200" cap="none" spc="0" normalizeH="0" baseline="0" noProof="0">
                <a:ln>
                  <a:noFill/>
                </a:ln>
                <a:solidFill>
                  <a:srgbClr val="656567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/>
              </a:rPr>
              <a:pPr marL="0" marR="0" lvl="0" indent="0" algn="l" defTabSz="389626" rtl="0" eaLnBrk="1" fontAlgn="base" latinLnBrk="0" hangingPunct="1">
                <a:lnSpc>
                  <a:spcPts val="75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de-DE" altLang="de-DE" sz="700" b="0" i="0" u="none" strike="noStrike" kern="1200" cap="none" spc="0" normalizeH="0" baseline="0" noProof="0">
              <a:ln>
                <a:noFill/>
              </a:ln>
              <a:solidFill>
                <a:srgbClr val="656567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/>
            </a:endParaRP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3186621" y="1089489"/>
            <a:ext cx="2700194" cy="319864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Probability</a:t>
            </a:r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3186621" y="1456005"/>
            <a:ext cx="2700194" cy="1229577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pPr marL="190500" marR="0" lvl="0" indent="-19050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B8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59246" y="1089489"/>
            <a:ext cx="2700194" cy="319864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Risk</a:t>
            </a:r>
          </a:p>
        </p:txBody>
      </p:sp>
      <p:sp>
        <p:nvSpPr>
          <p:cNvPr id="17" name="Rectangle 9"/>
          <p:cNvSpPr>
            <a:spLocks noChangeArrowheads="1"/>
          </p:cNvSpPr>
          <p:nvPr/>
        </p:nvSpPr>
        <p:spPr bwMode="auto">
          <a:xfrm>
            <a:off x="59246" y="1456005"/>
            <a:ext cx="2700194" cy="1229577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pPr marL="190500" marR="0" lvl="0" indent="-19050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B8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6313996" y="1089489"/>
            <a:ext cx="2700194" cy="319864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Plan</a:t>
            </a:r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auto">
          <a:xfrm>
            <a:off x="6313996" y="1456005"/>
            <a:ext cx="2700194" cy="1229577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pPr marL="190500" marR="0" lvl="0" indent="-19050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B8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  <p:sp>
        <p:nvSpPr>
          <p:cNvPr id="20" name="Rectangle 2"/>
          <p:cNvSpPr>
            <a:spLocks noChangeArrowheads="1"/>
          </p:cNvSpPr>
          <p:nvPr/>
        </p:nvSpPr>
        <p:spPr bwMode="auto">
          <a:xfrm>
            <a:off x="3188210" y="3040926"/>
            <a:ext cx="2700193" cy="319864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Communication Channel</a:t>
            </a:r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auto">
          <a:xfrm>
            <a:off x="3192971" y="3430405"/>
            <a:ext cx="2700194" cy="1229577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pPr marL="190500" marR="0" lvl="0" indent="-19050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B8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62421" y="3040926"/>
            <a:ext cx="2700194" cy="319864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Stakeholder / Audience*</a:t>
            </a:r>
          </a:p>
        </p:txBody>
      </p:sp>
      <p:sp>
        <p:nvSpPr>
          <p:cNvPr id="23" name="Rectangle 6"/>
          <p:cNvSpPr>
            <a:spLocks noChangeArrowheads="1"/>
          </p:cNvSpPr>
          <p:nvPr/>
        </p:nvSpPr>
        <p:spPr bwMode="auto">
          <a:xfrm>
            <a:off x="71946" y="3430405"/>
            <a:ext cx="2700194" cy="1229577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pPr marL="0" marR="0" lvl="0" indent="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B80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rPr>
              <a:t/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/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/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/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/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/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</a:b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auto">
          <a:xfrm>
            <a:off x="6313996" y="3040926"/>
            <a:ext cx="2700194" cy="319864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Information</a:t>
            </a: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6313996" y="3430405"/>
            <a:ext cx="2700194" cy="1229577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pPr marL="190500" marR="0" lvl="0" indent="-190500" algn="ctr" defTabSz="7620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B8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Arial"/>
            </a:endParaRPr>
          </a:p>
        </p:txBody>
      </p:sp>
      <p:sp>
        <p:nvSpPr>
          <p:cNvPr id="27" name="Rectangle 2"/>
          <p:cNvSpPr>
            <a:spLocks noGrp="1" noChangeArrowheads="1"/>
          </p:cNvSpPr>
          <p:nvPr>
            <p:ph type="title"/>
          </p:nvPr>
        </p:nvSpPr>
        <p:spPr>
          <a:xfrm>
            <a:off x="62421" y="437588"/>
            <a:ext cx="6330950" cy="441325"/>
          </a:xfrm>
        </p:spPr>
        <p:txBody>
          <a:bodyPr/>
          <a:lstStyle/>
          <a:p>
            <a:pPr eaLnBrk="1" hangingPunct="1"/>
            <a:r>
              <a:rPr lang="en-GB" altLang="de-DE" sz="1800" dirty="0"/>
              <a:t>Risk and Communication plan</a:t>
            </a:r>
          </a:p>
        </p:txBody>
      </p:sp>
    </p:spTree>
    <p:extLst>
      <p:ext uri="{BB962C8B-B14F-4D97-AF65-F5344CB8AC3E}">
        <p14:creationId xmlns:p14="http://schemas.microsoft.com/office/powerpoint/2010/main" val="15137359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478243EE-9A7C-4DB3-9F61-28E922342DAF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 que deve conter</a:t>
            </a:r>
          </a:p>
        </p:txBody>
      </p:sp>
      <p:pic>
        <p:nvPicPr>
          <p:cNvPr id="20482" name="Picture 2" descr="Imagem relacionada"/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805588" y="2110085"/>
            <a:ext cx="753283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54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ICKOFF MEETING!!!!</a:t>
            </a:r>
            <a:endParaRPr lang="en-US" sz="5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89103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Imagem relacionada">
            <a:extLst>
              <a:ext uri="{FF2B5EF4-FFF2-40B4-BE49-F238E27FC236}">
                <a16:creationId xmlns:a16="http://schemas.microsoft.com/office/drawing/2014/main" id="{10BFB457-F68F-4735-83AB-B2BB827CD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-31530"/>
            <a:ext cx="6948264" cy="5211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ACB4AC01-9DCF-4C60-ABA2-9C47F54C9751}"/>
              </a:ext>
            </a:extLst>
          </p:cNvPr>
          <p:cNvSpPr/>
          <p:nvPr/>
        </p:nvSpPr>
        <p:spPr>
          <a:xfrm>
            <a:off x="2623592" y="0"/>
            <a:ext cx="5616624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57983993-6314-4492-93E9-87AC119CEF27}"/>
              </a:ext>
            </a:extLst>
          </p:cNvPr>
          <p:cNvSpPr/>
          <p:nvPr/>
        </p:nvSpPr>
        <p:spPr>
          <a:xfrm>
            <a:off x="1213396" y="2571750"/>
            <a:ext cx="7103020" cy="25391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0711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Imagem relacionada">
            <a:extLst>
              <a:ext uri="{FF2B5EF4-FFF2-40B4-BE49-F238E27FC236}">
                <a16:creationId xmlns:a16="http://schemas.microsoft.com/office/drawing/2014/main" id="{10BFB457-F68F-4735-83AB-B2BB827CD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-31530"/>
            <a:ext cx="6948264" cy="5211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57983993-6314-4492-93E9-87AC119CEF27}"/>
              </a:ext>
            </a:extLst>
          </p:cNvPr>
          <p:cNvSpPr/>
          <p:nvPr/>
        </p:nvSpPr>
        <p:spPr>
          <a:xfrm>
            <a:off x="1213396" y="2539132"/>
            <a:ext cx="7103020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65087BAB-029F-4CF8-8B08-E443B2CFF7FC}"/>
              </a:ext>
            </a:extLst>
          </p:cNvPr>
          <p:cNvSpPr/>
          <p:nvPr/>
        </p:nvSpPr>
        <p:spPr>
          <a:xfrm>
            <a:off x="3990566" y="0"/>
            <a:ext cx="4541874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7490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Imagem relacionada">
            <a:extLst>
              <a:ext uri="{FF2B5EF4-FFF2-40B4-BE49-F238E27FC236}">
                <a16:creationId xmlns:a16="http://schemas.microsoft.com/office/drawing/2014/main" id="{10BFB457-F68F-4735-83AB-B2BB827CD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-31530"/>
            <a:ext cx="6948264" cy="5211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57983993-6314-4492-93E9-87AC119CEF27}"/>
              </a:ext>
            </a:extLst>
          </p:cNvPr>
          <p:cNvSpPr/>
          <p:nvPr/>
        </p:nvSpPr>
        <p:spPr>
          <a:xfrm>
            <a:off x="1213396" y="2539132"/>
            <a:ext cx="7103020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65087BAB-029F-4CF8-8B08-E443B2CFF7FC}"/>
              </a:ext>
            </a:extLst>
          </p:cNvPr>
          <p:cNvSpPr/>
          <p:nvPr/>
        </p:nvSpPr>
        <p:spPr>
          <a:xfrm>
            <a:off x="5364088" y="0"/>
            <a:ext cx="3168352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3488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Imagem relacionada">
            <a:extLst>
              <a:ext uri="{FF2B5EF4-FFF2-40B4-BE49-F238E27FC236}">
                <a16:creationId xmlns:a16="http://schemas.microsoft.com/office/drawing/2014/main" id="{10BFB457-F68F-4735-83AB-B2BB827CD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-31530"/>
            <a:ext cx="6948264" cy="5211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57983993-6314-4492-93E9-87AC119CEF27}"/>
              </a:ext>
            </a:extLst>
          </p:cNvPr>
          <p:cNvSpPr/>
          <p:nvPr/>
        </p:nvSpPr>
        <p:spPr>
          <a:xfrm>
            <a:off x="1213396" y="2539132"/>
            <a:ext cx="7103020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65087BAB-029F-4CF8-8B08-E443B2CFF7FC}"/>
              </a:ext>
            </a:extLst>
          </p:cNvPr>
          <p:cNvSpPr/>
          <p:nvPr/>
        </p:nvSpPr>
        <p:spPr>
          <a:xfrm>
            <a:off x="6732240" y="0"/>
            <a:ext cx="1800200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1533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Imagem relacionada">
            <a:extLst>
              <a:ext uri="{FF2B5EF4-FFF2-40B4-BE49-F238E27FC236}">
                <a16:creationId xmlns:a16="http://schemas.microsoft.com/office/drawing/2014/main" id="{10BFB457-F68F-4735-83AB-B2BB827CD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-31530"/>
            <a:ext cx="6948264" cy="5211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57983993-6314-4492-93E9-87AC119CEF27}"/>
              </a:ext>
            </a:extLst>
          </p:cNvPr>
          <p:cNvSpPr/>
          <p:nvPr/>
        </p:nvSpPr>
        <p:spPr>
          <a:xfrm>
            <a:off x="1213396" y="2539132"/>
            <a:ext cx="7103020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6762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468104D9-6125-4B4A-90FA-6466E048AA55}"/>
              </a:ext>
            </a:extLst>
          </p:cNvPr>
          <p:cNvSpPr txBox="1"/>
          <p:nvPr/>
        </p:nvSpPr>
        <p:spPr>
          <a:xfrm>
            <a:off x="1547664" y="987574"/>
            <a:ext cx="604867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000" b="1" dirty="0"/>
              <a:t>Por que gerenciamos projetos ?</a:t>
            </a:r>
          </a:p>
        </p:txBody>
      </p:sp>
    </p:spTree>
    <p:extLst>
      <p:ext uri="{BB962C8B-B14F-4D97-AF65-F5344CB8AC3E}">
        <p14:creationId xmlns:p14="http://schemas.microsoft.com/office/powerpoint/2010/main" val="362318415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Imagem relacionada">
            <a:extLst>
              <a:ext uri="{FF2B5EF4-FFF2-40B4-BE49-F238E27FC236}">
                <a16:creationId xmlns:a16="http://schemas.microsoft.com/office/drawing/2014/main" id="{10BFB457-F68F-4735-83AB-B2BB827CD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-31530"/>
            <a:ext cx="6948264" cy="5211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57983993-6314-4492-93E9-87AC119CEF27}"/>
              </a:ext>
            </a:extLst>
          </p:cNvPr>
          <p:cNvSpPr/>
          <p:nvPr/>
        </p:nvSpPr>
        <p:spPr>
          <a:xfrm>
            <a:off x="2627784" y="2539132"/>
            <a:ext cx="5688632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8830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Imagem relacionada">
            <a:extLst>
              <a:ext uri="{FF2B5EF4-FFF2-40B4-BE49-F238E27FC236}">
                <a16:creationId xmlns:a16="http://schemas.microsoft.com/office/drawing/2014/main" id="{10BFB457-F68F-4735-83AB-B2BB827CD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-31530"/>
            <a:ext cx="6948264" cy="5211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57983993-6314-4492-93E9-87AC119CEF27}"/>
              </a:ext>
            </a:extLst>
          </p:cNvPr>
          <p:cNvSpPr/>
          <p:nvPr/>
        </p:nvSpPr>
        <p:spPr>
          <a:xfrm>
            <a:off x="3995936" y="2539132"/>
            <a:ext cx="4320480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1906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Imagem relacionada">
            <a:extLst>
              <a:ext uri="{FF2B5EF4-FFF2-40B4-BE49-F238E27FC236}">
                <a16:creationId xmlns:a16="http://schemas.microsoft.com/office/drawing/2014/main" id="{10BFB457-F68F-4735-83AB-B2BB827CD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-31530"/>
            <a:ext cx="6948264" cy="5211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57983993-6314-4492-93E9-87AC119CEF27}"/>
              </a:ext>
            </a:extLst>
          </p:cNvPr>
          <p:cNvSpPr/>
          <p:nvPr/>
        </p:nvSpPr>
        <p:spPr>
          <a:xfrm>
            <a:off x="6732240" y="2539132"/>
            <a:ext cx="1584176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8692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Imagem relacionada">
            <a:extLst>
              <a:ext uri="{FF2B5EF4-FFF2-40B4-BE49-F238E27FC236}">
                <a16:creationId xmlns:a16="http://schemas.microsoft.com/office/drawing/2014/main" id="{10BFB457-F68F-4735-83AB-B2BB827CD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-31530"/>
            <a:ext cx="6948264" cy="5211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7819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ases da gestão de projeto</a:t>
            </a:r>
          </a:p>
        </p:txBody>
      </p:sp>
      <p:sp>
        <p:nvSpPr>
          <p:cNvPr id="3" name="Seta: Pentágono 2">
            <a:extLst>
              <a:ext uri="{FF2B5EF4-FFF2-40B4-BE49-F238E27FC236}">
                <a16:creationId xmlns:a16="http://schemas.microsoft.com/office/drawing/2014/main" id="{4E6AC1C4-8748-4C39-8EF7-921603E45E8D}"/>
              </a:ext>
            </a:extLst>
          </p:cNvPr>
          <p:cNvSpPr/>
          <p:nvPr/>
        </p:nvSpPr>
        <p:spPr>
          <a:xfrm>
            <a:off x="7232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Iniciação</a:t>
            </a:r>
          </a:p>
        </p:txBody>
      </p:sp>
      <p:sp>
        <p:nvSpPr>
          <p:cNvPr id="7" name="Seta: Pentágono 6">
            <a:extLst>
              <a:ext uri="{FF2B5EF4-FFF2-40B4-BE49-F238E27FC236}">
                <a16:creationId xmlns:a16="http://schemas.microsoft.com/office/drawing/2014/main" id="{3B370224-712D-4D03-BC2A-C576A2EC3FED}"/>
              </a:ext>
            </a:extLst>
          </p:cNvPr>
          <p:cNvSpPr/>
          <p:nvPr/>
        </p:nvSpPr>
        <p:spPr>
          <a:xfrm>
            <a:off x="189996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Planejamento</a:t>
            </a:r>
          </a:p>
        </p:txBody>
      </p:sp>
      <p:sp>
        <p:nvSpPr>
          <p:cNvPr id="9" name="Seta: Pentágono 8">
            <a:extLst>
              <a:ext uri="{FF2B5EF4-FFF2-40B4-BE49-F238E27FC236}">
                <a16:creationId xmlns:a16="http://schemas.microsoft.com/office/drawing/2014/main" id="{44C70F2F-1F97-490C-919E-5EF0A64EA28A}"/>
              </a:ext>
            </a:extLst>
          </p:cNvPr>
          <p:cNvSpPr/>
          <p:nvPr/>
        </p:nvSpPr>
        <p:spPr>
          <a:xfrm>
            <a:off x="372760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Execução</a:t>
            </a:r>
          </a:p>
        </p:txBody>
      </p:sp>
      <p:sp>
        <p:nvSpPr>
          <p:cNvPr id="10" name="Seta: Pentágono 9">
            <a:extLst>
              <a:ext uri="{FF2B5EF4-FFF2-40B4-BE49-F238E27FC236}">
                <a16:creationId xmlns:a16="http://schemas.microsoft.com/office/drawing/2014/main" id="{3C767181-78B6-48D0-8DC3-B7F3A1616E4F}"/>
              </a:ext>
            </a:extLst>
          </p:cNvPr>
          <p:cNvSpPr/>
          <p:nvPr/>
        </p:nvSpPr>
        <p:spPr>
          <a:xfrm>
            <a:off x="555524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Monitoramento e controle</a:t>
            </a:r>
          </a:p>
        </p:txBody>
      </p:sp>
      <p:sp>
        <p:nvSpPr>
          <p:cNvPr id="11" name="Seta: Pentágono 10">
            <a:extLst>
              <a:ext uri="{FF2B5EF4-FFF2-40B4-BE49-F238E27FC236}">
                <a16:creationId xmlns:a16="http://schemas.microsoft.com/office/drawing/2014/main" id="{73B87327-0C1F-4A32-BD58-342C22D4337E}"/>
              </a:ext>
            </a:extLst>
          </p:cNvPr>
          <p:cNvSpPr/>
          <p:nvPr/>
        </p:nvSpPr>
        <p:spPr>
          <a:xfrm>
            <a:off x="738288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Encerramento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5E35CFF4-BF72-4966-B692-0AEB7C8B4856}"/>
              </a:ext>
            </a:extLst>
          </p:cNvPr>
          <p:cNvSpPr/>
          <p:nvPr/>
        </p:nvSpPr>
        <p:spPr>
          <a:xfrm>
            <a:off x="72328" y="2283718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AP / Project Charter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9924661E-2864-4562-87DA-22A4C5D3BC85}"/>
              </a:ext>
            </a:extLst>
          </p:cNvPr>
          <p:cNvSpPr/>
          <p:nvPr/>
        </p:nvSpPr>
        <p:spPr>
          <a:xfrm>
            <a:off x="1899967" y="2417795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o de risc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o de comunicação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ickoff</a:t>
            </a: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meeting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36EB86FF-0DFC-4CDD-989F-D0CDF28E9BB7}"/>
              </a:ext>
            </a:extLst>
          </p:cNvPr>
          <p:cNvSpPr/>
          <p:nvPr/>
        </p:nvSpPr>
        <p:spPr>
          <a:xfrm>
            <a:off x="3727606" y="2283718"/>
            <a:ext cx="3491027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terações de escop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teração de 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cas de acompanhamento</a:t>
            </a:r>
          </a:p>
        </p:txBody>
      </p: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D372310A-0021-4076-8894-3BAFB021FC77}"/>
              </a:ext>
            </a:extLst>
          </p:cNvPr>
          <p:cNvSpPr/>
          <p:nvPr/>
        </p:nvSpPr>
        <p:spPr>
          <a:xfrm>
            <a:off x="7382884" y="2283718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ultados obtid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ções aprendi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união de fech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lebration</a:t>
            </a: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BFF8AC44-1E67-4DC3-A26A-91ED5E799FCC}"/>
              </a:ext>
            </a:extLst>
          </p:cNvPr>
          <p:cNvSpPr/>
          <p:nvPr/>
        </p:nvSpPr>
        <p:spPr>
          <a:xfrm>
            <a:off x="119148" y="1075780"/>
            <a:ext cx="387795" cy="38779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FABA0406-66C2-4427-A000-CDD838F17162}"/>
              </a:ext>
            </a:extLst>
          </p:cNvPr>
          <p:cNvSpPr/>
          <p:nvPr/>
        </p:nvSpPr>
        <p:spPr>
          <a:xfrm>
            <a:off x="1942096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8411B5C1-908D-4A96-9569-A23EB0C51FD4}"/>
              </a:ext>
            </a:extLst>
          </p:cNvPr>
          <p:cNvSpPr/>
          <p:nvPr/>
        </p:nvSpPr>
        <p:spPr>
          <a:xfrm>
            <a:off x="3789458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CABC980C-A1F3-46B4-BEEE-0FD343EAD2CF}"/>
              </a:ext>
            </a:extLst>
          </p:cNvPr>
          <p:cNvSpPr/>
          <p:nvPr/>
        </p:nvSpPr>
        <p:spPr>
          <a:xfrm>
            <a:off x="5586173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3D2A14C4-8B38-496F-A164-94AD07693C1E}"/>
              </a:ext>
            </a:extLst>
          </p:cNvPr>
          <p:cNvSpPr/>
          <p:nvPr/>
        </p:nvSpPr>
        <p:spPr>
          <a:xfrm>
            <a:off x="7413813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5</a:t>
            </a:r>
          </a:p>
        </p:txBody>
      </p:sp>
      <p:sp>
        <p:nvSpPr>
          <p:cNvPr id="2" name="Left Brace 1"/>
          <p:cNvSpPr/>
          <p:nvPr/>
        </p:nvSpPr>
        <p:spPr>
          <a:xfrm rot="5400000">
            <a:off x="1691917" y="-277854"/>
            <a:ext cx="121940" cy="2613890"/>
          </a:xfrm>
          <a:prstGeom prst="leftBrace">
            <a:avLst>
              <a:gd name="adj1" fmla="val 16500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368005" y="683737"/>
            <a:ext cx="769763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copo</a:t>
            </a:r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54D4057B-93B3-4403-A6FF-C042312F5005}"/>
              </a:ext>
            </a:extLst>
          </p:cNvPr>
          <p:cNvSpPr/>
          <p:nvPr/>
        </p:nvSpPr>
        <p:spPr>
          <a:xfrm>
            <a:off x="72328" y="2283718"/>
            <a:ext cx="3491027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4578" name="Picture 2" descr="Resultado de imagem para check">
            <a:extLst>
              <a:ext uri="{FF2B5EF4-FFF2-40B4-BE49-F238E27FC236}">
                <a16:creationId xmlns:a16="http://schemas.microsoft.com/office/drawing/2014/main" id="{E95906B1-572D-49C7-A78C-5652D2BAFA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448" y="2883169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Resultado de imagem para check">
            <a:extLst>
              <a:ext uri="{FF2B5EF4-FFF2-40B4-BE49-F238E27FC236}">
                <a16:creationId xmlns:a16="http://schemas.microsoft.com/office/drawing/2014/main" id="{3D7F42BB-B0A1-47E5-8343-724791383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307" y="2282952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Resultado de imagem para check">
            <a:extLst>
              <a:ext uri="{FF2B5EF4-FFF2-40B4-BE49-F238E27FC236}">
                <a16:creationId xmlns:a16="http://schemas.microsoft.com/office/drawing/2014/main" id="{25A23275-8357-4BE3-BBAA-5463F1DBCB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280" y="3812901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Resultado de imagem para check">
            <a:extLst>
              <a:ext uri="{FF2B5EF4-FFF2-40B4-BE49-F238E27FC236}">
                <a16:creationId xmlns:a16="http://schemas.microsoft.com/office/drawing/2014/main" id="{8F422ABC-1096-4E9D-A08D-4C979BB9BD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8597" y="2677788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Resultado de imagem para check">
            <a:extLst>
              <a:ext uri="{FF2B5EF4-FFF2-40B4-BE49-F238E27FC236}">
                <a16:creationId xmlns:a16="http://schemas.microsoft.com/office/drawing/2014/main" id="{003EDC20-B45E-41F6-AA23-61B0FCF9E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213" y="3198879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Resultado de imagem para check">
            <a:extLst>
              <a:ext uri="{FF2B5EF4-FFF2-40B4-BE49-F238E27FC236}">
                <a16:creationId xmlns:a16="http://schemas.microsoft.com/office/drawing/2014/main" id="{BB8F182F-FE2A-43B6-846C-1108CDDF83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3246" y="4335098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4823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6" name="Picture 4" descr="Resultado de imagem para project meetings">
            <a:extLst>
              <a:ext uri="{FF2B5EF4-FFF2-40B4-BE49-F238E27FC236}">
                <a16:creationId xmlns:a16="http://schemas.microsoft.com/office/drawing/2014/main" id="{CD557368-FEC9-4217-8339-0623CF18E3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cas para execução, monitoramento e controle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E1186AB7-7758-4835-B5CD-9936A5F9EB63}"/>
              </a:ext>
            </a:extLst>
          </p:cNvPr>
          <p:cNvSpPr/>
          <p:nvPr/>
        </p:nvSpPr>
        <p:spPr>
          <a:xfrm>
            <a:off x="3203848" y="843559"/>
            <a:ext cx="5472608" cy="4091756"/>
          </a:xfrm>
          <a:prstGeom prst="rect">
            <a:avLst/>
          </a:prstGeom>
          <a:solidFill>
            <a:srgbClr val="FFB800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F404CBC9-483F-4CFD-B3BF-102B92BD54A7}"/>
              </a:ext>
            </a:extLst>
          </p:cNvPr>
          <p:cNvSpPr txBox="1"/>
          <p:nvPr/>
        </p:nvSpPr>
        <p:spPr>
          <a:xfrm>
            <a:off x="3203848" y="905056"/>
            <a:ext cx="525658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dirty="0"/>
              <a:t>Perceba a maturidade do seu tim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dirty="0"/>
              <a:t>Agende reuniões periódicas de acompanhamento (de preferência já agende das próximas 4 semanas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dirty="0"/>
              <a:t>Informe sempre o objetivo da reunião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dirty="0"/>
              <a:t>Leve sempre o Project Charter e acompanhe com base nel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dirty="0"/>
              <a:t>Comunique o PMO e peça apoio sempre que preciso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dirty="0"/>
              <a:t>Comunique os stakeholders conforme seu plano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dirty="0"/>
              <a:t>Registre os principais pontos da reunião e distribua as atividades da semana (caso não estejam no cronograma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400" dirty="0"/>
              <a:t>Registre, comunique e aprove as alterações de escopo e cronograma (caso houver)</a:t>
            </a:r>
          </a:p>
        </p:txBody>
      </p:sp>
      <p:pic>
        <p:nvPicPr>
          <p:cNvPr id="33794" name="Picture 2" descr="Resultado de imagem para tips">
            <a:extLst>
              <a:ext uri="{FF2B5EF4-FFF2-40B4-BE49-F238E27FC236}">
                <a16:creationId xmlns:a16="http://schemas.microsoft.com/office/drawing/2014/main" id="{A8A9F485-9B8D-4C82-9934-C6AF23D727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926" y="840990"/>
            <a:ext cx="1109012" cy="642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0327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7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6" name="Picture 6" descr="Imagem relacionada">
            <a:extLst>
              <a:ext uri="{FF2B5EF4-FFF2-40B4-BE49-F238E27FC236}">
                <a16:creationId xmlns:a16="http://schemas.microsoft.com/office/drawing/2014/main" id="{5CDC307C-444E-45DC-AD06-032677A650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632DB788-CBFA-4485-8394-3476716F24EC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união de fechamento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D18D9872-7D4A-4C5B-984E-D51043B278AA}"/>
              </a:ext>
            </a:extLst>
          </p:cNvPr>
          <p:cNvSpPr txBox="1"/>
          <p:nvPr/>
        </p:nvSpPr>
        <p:spPr>
          <a:xfrm>
            <a:off x="732079" y="1824515"/>
            <a:ext cx="7992888" cy="2193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pt-BR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presente os resultados (compare com o objetivo)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pt-BR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ntregue o processo ao dono do processo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pt-BR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presente e documente as lições aprendidas</a:t>
            </a:r>
          </a:p>
        </p:txBody>
      </p:sp>
    </p:spTree>
    <p:extLst>
      <p:ext uri="{BB962C8B-B14F-4D97-AF65-F5344CB8AC3E}">
        <p14:creationId xmlns:p14="http://schemas.microsoft.com/office/powerpoint/2010/main" val="859936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ases da gestão de projeto</a:t>
            </a:r>
          </a:p>
        </p:txBody>
      </p:sp>
      <p:sp>
        <p:nvSpPr>
          <p:cNvPr id="3" name="Seta: Pentágono 2">
            <a:extLst>
              <a:ext uri="{FF2B5EF4-FFF2-40B4-BE49-F238E27FC236}">
                <a16:creationId xmlns:a16="http://schemas.microsoft.com/office/drawing/2014/main" id="{4E6AC1C4-8748-4C39-8EF7-921603E45E8D}"/>
              </a:ext>
            </a:extLst>
          </p:cNvPr>
          <p:cNvSpPr/>
          <p:nvPr/>
        </p:nvSpPr>
        <p:spPr>
          <a:xfrm>
            <a:off x="7232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Iniciação</a:t>
            </a:r>
          </a:p>
        </p:txBody>
      </p:sp>
      <p:sp>
        <p:nvSpPr>
          <p:cNvPr id="7" name="Seta: Pentágono 6">
            <a:extLst>
              <a:ext uri="{FF2B5EF4-FFF2-40B4-BE49-F238E27FC236}">
                <a16:creationId xmlns:a16="http://schemas.microsoft.com/office/drawing/2014/main" id="{3B370224-712D-4D03-BC2A-C576A2EC3FED}"/>
              </a:ext>
            </a:extLst>
          </p:cNvPr>
          <p:cNvSpPr/>
          <p:nvPr/>
        </p:nvSpPr>
        <p:spPr>
          <a:xfrm>
            <a:off x="189996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Planejamento</a:t>
            </a:r>
          </a:p>
        </p:txBody>
      </p:sp>
      <p:sp>
        <p:nvSpPr>
          <p:cNvPr id="9" name="Seta: Pentágono 8">
            <a:extLst>
              <a:ext uri="{FF2B5EF4-FFF2-40B4-BE49-F238E27FC236}">
                <a16:creationId xmlns:a16="http://schemas.microsoft.com/office/drawing/2014/main" id="{44C70F2F-1F97-490C-919E-5EF0A64EA28A}"/>
              </a:ext>
            </a:extLst>
          </p:cNvPr>
          <p:cNvSpPr/>
          <p:nvPr/>
        </p:nvSpPr>
        <p:spPr>
          <a:xfrm>
            <a:off x="372760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Execução</a:t>
            </a:r>
          </a:p>
        </p:txBody>
      </p:sp>
      <p:sp>
        <p:nvSpPr>
          <p:cNvPr id="10" name="Seta: Pentágono 9">
            <a:extLst>
              <a:ext uri="{FF2B5EF4-FFF2-40B4-BE49-F238E27FC236}">
                <a16:creationId xmlns:a16="http://schemas.microsoft.com/office/drawing/2014/main" id="{3C767181-78B6-48D0-8DC3-B7F3A1616E4F}"/>
              </a:ext>
            </a:extLst>
          </p:cNvPr>
          <p:cNvSpPr/>
          <p:nvPr/>
        </p:nvSpPr>
        <p:spPr>
          <a:xfrm>
            <a:off x="555524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Monitoramento e controle</a:t>
            </a:r>
          </a:p>
        </p:txBody>
      </p:sp>
      <p:sp>
        <p:nvSpPr>
          <p:cNvPr id="11" name="Seta: Pentágono 10">
            <a:extLst>
              <a:ext uri="{FF2B5EF4-FFF2-40B4-BE49-F238E27FC236}">
                <a16:creationId xmlns:a16="http://schemas.microsoft.com/office/drawing/2014/main" id="{73B87327-0C1F-4A32-BD58-342C22D4337E}"/>
              </a:ext>
            </a:extLst>
          </p:cNvPr>
          <p:cNvSpPr/>
          <p:nvPr/>
        </p:nvSpPr>
        <p:spPr>
          <a:xfrm>
            <a:off x="7382888" y="1347614"/>
            <a:ext cx="1663385" cy="864096"/>
          </a:xfrm>
          <a:prstGeom prst="homePlate">
            <a:avLst>
              <a:gd name="adj" fmla="val 3236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Encerramento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5E35CFF4-BF72-4966-B692-0AEB7C8B4856}"/>
              </a:ext>
            </a:extLst>
          </p:cNvPr>
          <p:cNvSpPr/>
          <p:nvPr/>
        </p:nvSpPr>
        <p:spPr>
          <a:xfrm>
            <a:off x="72328" y="2283718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AP / Project Charter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9924661E-2864-4562-87DA-22A4C5D3BC85}"/>
              </a:ext>
            </a:extLst>
          </p:cNvPr>
          <p:cNvSpPr/>
          <p:nvPr/>
        </p:nvSpPr>
        <p:spPr>
          <a:xfrm>
            <a:off x="1899967" y="2417795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o de risc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no de comunicação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ickoff</a:t>
            </a: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meeting</a:t>
            </a:r>
          </a:p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36EB86FF-0DFC-4CDD-989F-D0CDF28E9BB7}"/>
              </a:ext>
            </a:extLst>
          </p:cNvPr>
          <p:cNvSpPr/>
          <p:nvPr/>
        </p:nvSpPr>
        <p:spPr>
          <a:xfrm>
            <a:off x="3727606" y="2283718"/>
            <a:ext cx="3491027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terações de escop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teração de 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cas de acompanhamento</a:t>
            </a:r>
          </a:p>
        </p:txBody>
      </p: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D372310A-0021-4076-8894-3BAFB021FC77}"/>
              </a:ext>
            </a:extLst>
          </p:cNvPr>
          <p:cNvSpPr/>
          <p:nvPr/>
        </p:nvSpPr>
        <p:spPr>
          <a:xfrm>
            <a:off x="7382884" y="2283718"/>
            <a:ext cx="1663385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ultados obtid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ções aprendi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união de fech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lebration</a:t>
            </a:r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BFF8AC44-1E67-4DC3-A26A-91ED5E799FCC}"/>
              </a:ext>
            </a:extLst>
          </p:cNvPr>
          <p:cNvSpPr/>
          <p:nvPr/>
        </p:nvSpPr>
        <p:spPr>
          <a:xfrm>
            <a:off x="119148" y="1075780"/>
            <a:ext cx="387795" cy="38779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FABA0406-66C2-4427-A000-CDD838F17162}"/>
              </a:ext>
            </a:extLst>
          </p:cNvPr>
          <p:cNvSpPr/>
          <p:nvPr/>
        </p:nvSpPr>
        <p:spPr>
          <a:xfrm>
            <a:off x="1942096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8411B5C1-908D-4A96-9569-A23EB0C51FD4}"/>
              </a:ext>
            </a:extLst>
          </p:cNvPr>
          <p:cNvSpPr/>
          <p:nvPr/>
        </p:nvSpPr>
        <p:spPr>
          <a:xfrm>
            <a:off x="3789458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CABC980C-A1F3-46B4-BEEE-0FD343EAD2CF}"/>
              </a:ext>
            </a:extLst>
          </p:cNvPr>
          <p:cNvSpPr/>
          <p:nvPr/>
        </p:nvSpPr>
        <p:spPr>
          <a:xfrm>
            <a:off x="5586173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3D2A14C4-8B38-496F-A164-94AD07693C1E}"/>
              </a:ext>
            </a:extLst>
          </p:cNvPr>
          <p:cNvSpPr/>
          <p:nvPr/>
        </p:nvSpPr>
        <p:spPr>
          <a:xfrm>
            <a:off x="7413813" y="1079501"/>
            <a:ext cx="380356" cy="38035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>
                <a:ln w="0"/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5</a:t>
            </a:r>
          </a:p>
        </p:txBody>
      </p:sp>
      <p:sp>
        <p:nvSpPr>
          <p:cNvPr id="2" name="Left Brace 1"/>
          <p:cNvSpPr/>
          <p:nvPr/>
        </p:nvSpPr>
        <p:spPr>
          <a:xfrm rot="5400000">
            <a:off x="1691917" y="-277854"/>
            <a:ext cx="121940" cy="2613890"/>
          </a:xfrm>
          <a:prstGeom prst="leftBrace">
            <a:avLst>
              <a:gd name="adj1" fmla="val 16500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368005" y="683737"/>
            <a:ext cx="769763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copo</a:t>
            </a:r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54D4057B-93B3-4403-A6FF-C042312F5005}"/>
              </a:ext>
            </a:extLst>
          </p:cNvPr>
          <p:cNvSpPr/>
          <p:nvPr/>
        </p:nvSpPr>
        <p:spPr>
          <a:xfrm>
            <a:off x="72328" y="2283718"/>
            <a:ext cx="3491027" cy="2664296"/>
          </a:xfrm>
          <a:prstGeom prst="roundRect">
            <a:avLst>
              <a:gd name="adj" fmla="val 9032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4578" name="Picture 2" descr="Resultado de imagem para check">
            <a:extLst>
              <a:ext uri="{FF2B5EF4-FFF2-40B4-BE49-F238E27FC236}">
                <a16:creationId xmlns:a16="http://schemas.microsoft.com/office/drawing/2014/main" id="{E95906B1-572D-49C7-A78C-5652D2BAFA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448" y="2883169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Resultado de imagem para check">
            <a:extLst>
              <a:ext uri="{FF2B5EF4-FFF2-40B4-BE49-F238E27FC236}">
                <a16:creationId xmlns:a16="http://schemas.microsoft.com/office/drawing/2014/main" id="{3D7F42BB-B0A1-47E5-8343-724791383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307" y="2282952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Resultado de imagem para check">
            <a:extLst>
              <a:ext uri="{FF2B5EF4-FFF2-40B4-BE49-F238E27FC236}">
                <a16:creationId xmlns:a16="http://schemas.microsoft.com/office/drawing/2014/main" id="{25A23275-8357-4BE3-BBAA-5463F1DBCB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280" y="3812901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Resultado de imagem para check">
            <a:extLst>
              <a:ext uri="{FF2B5EF4-FFF2-40B4-BE49-F238E27FC236}">
                <a16:creationId xmlns:a16="http://schemas.microsoft.com/office/drawing/2014/main" id="{8F422ABC-1096-4E9D-A08D-4C979BB9BD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8597" y="2677788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Resultado de imagem para check">
            <a:extLst>
              <a:ext uri="{FF2B5EF4-FFF2-40B4-BE49-F238E27FC236}">
                <a16:creationId xmlns:a16="http://schemas.microsoft.com/office/drawing/2014/main" id="{003EDC20-B45E-41F6-AA23-61B0FCF9E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213" y="3198879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Resultado de imagem para check">
            <a:extLst>
              <a:ext uri="{FF2B5EF4-FFF2-40B4-BE49-F238E27FC236}">
                <a16:creationId xmlns:a16="http://schemas.microsoft.com/office/drawing/2014/main" id="{BB8F182F-FE2A-43B6-846C-1108CDDF83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3246" y="4335098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Resultado de imagem para check">
            <a:extLst>
              <a:ext uri="{FF2B5EF4-FFF2-40B4-BE49-F238E27FC236}">
                <a16:creationId xmlns:a16="http://schemas.microsoft.com/office/drawing/2014/main" id="{85DC846B-D3CA-4E42-A456-FF0EBA25B8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219" y="2271159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Resultado de imagem para check">
            <a:extLst>
              <a:ext uri="{FF2B5EF4-FFF2-40B4-BE49-F238E27FC236}">
                <a16:creationId xmlns:a16="http://schemas.microsoft.com/office/drawing/2014/main" id="{DE6C424E-E975-4147-9057-6BCEBFB75F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8727" y="2232996"/>
            <a:ext cx="522197" cy="52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583611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Gráfico 65" descr="Disco">
            <a:hlinkClick r:id="rId3" action="ppaction://hlinkfile"/>
            <a:extLst>
              <a:ext uri="{FF2B5EF4-FFF2-40B4-BE49-F238E27FC236}">
                <a16:creationId xmlns:a16="http://schemas.microsoft.com/office/drawing/2014/main" id="{FC89D2B9-5A8C-47F6-84E9-F81FC10320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419872" y="1236002"/>
            <a:ext cx="1969368" cy="1969368"/>
          </a:xfrm>
          <a:prstGeom prst="rect">
            <a:avLst/>
          </a:prstGeom>
        </p:spPr>
      </p:pic>
      <p:sp>
        <p:nvSpPr>
          <p:cNvPr id="67" name="Rectangle 1">
            <a:extLst>
              <a:ext uri="{FF2B5EF4-FFF2-40B4-BE49-F238E27FC236}">
                <a16:creationId xmlns:a16="http://schemas.microsoft.com/office/drawing/2014/main" id="{707211C2-A6F1-4432-A3B3-A362974C3440}"/>
              </a:ext>
            </a:extLst>
          </p:cNvPr>
          <p:cNvSpPr/>
          <p:nvPr/>
        </p:nvSpPr>
        <p:spPr>
          <a:xfrm>
            <a:off x="2672057" y="3059176"/>
            <a:ext cx="379988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www.youtube.com/watch?v=egDUbiugRrs</a:t>
            </a:r>
          </a:p>
        </p:txBody>
      </p:sp>
    </p:spTree>
    <p:extLst>
      <p:ext uri="{BB962C8B-B14F-4D97-AF65-F5344CB8AC3E}">
        <p14:creationId xmlns:p14="http://schemas.microsoft.com/office/powerpoint/2010/main" val="22412862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 descr="Resultado de imagem para happy hour">
            <a:extLst>
              <a:ext uri="{FF2B5EF4-FFF2-40B4-BE49-F238E27FC236}">
                <a16:creationId xmlns:a16="http://schemas.microsoft.com/office/drawing/2014/main" id="{C773D5E8-FF5A-4C96-B2D0-614C09DA3A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30" y="0"/>
            <a:ext cx="9175948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6104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468104D9-6125-4B4A-90FA-6466E048AA55}"/>
              </a:ext>
            </a:extLst>
          </p:cNvPr>
          <p:cNvSpPr txBox="1"/>
          <p:nvPr/>
        </p:nvSpPr>
        <p:spPr>
          <a:xfrm>
            <a:off x="2420186" y="288245"/>
            <a:ext cx="6048672" cy="4076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6000" b="1" dirty="0"/>
              <a:t>Projeto </a:t>
            </a:r>
          </a:p>
          <a:p>
            <a:pPr algn="ctr">
              <a:lnSpc>
                <a:spcPct val="150000"/>
              </a:lnSpc>
            </a:pPr>
            <a:r>
              <a:rPr lang="pt-BR" sz="6000" b="1" dirty="0"/>
              <a:t>X</a:t>
            </a:r>
          </a:p>
          <a:p>
            <a:pPr algn="ctr">
              <a:lnSpc>
                <a:spcPct val="150000"/>
              </a:lnSpc>
            </a:pPr>
            <a:r>
              <a:rPr lang="pt-BR" sz="6000" b="1" dirty="0"/>
              <a:t>Processo </a:t>
            </a:r>
          </a:p>
        </p:txBody>
      </p:sp>
      <p:pic>
        <p:nvPicPr>
          <p:cNvPr id="4" name="Gráfico 3" descr="Usuário">
            <a:extLst>
              <a:ext uri="{FF2B5EF4-FFF2-40B4-BE49-F238E27FC236}">
                <a16:creationId xmlns:a16="http://schemas.microsoft.com/office/drawing/2014/main" id="{A0DBB99E-22B7-43C9-9F2B-E2F8C89FAA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10746" y="3078866"/>
            <a:ext cx="1797140" cy="1797140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612CE4EA-71A4-40D9-B2BA-63470DBE42CD}"/>
              </a:ext>
            </a:extLst>
          </p:cNvPr>
          <p:cNvSpPr/>
          <p:nvPr/>
        </p:nvSpPr>
        <p:spPr>
          <a:xfrm>
            <a:off x="1698317" y="2305616"/>
            <a:ext cx="811441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8000" b="1" dirty="0">
                <a:solidFill>
                  <a:srgbClr val="D29600"/>
                </a:solidFill>
              </a:rPr>
              <a:t>?</a:t>
            </a:r>
            <a:endParaRPr lang="pt-BR" sz="7200" dirty="0">
              <a:solidFill>
                <a:srgbClr val="D29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66991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aixaDeTexto 13">
            <a:extLst>
              <a:ext uri="{FF2B5EF4-FFF2-40B4-BE49-F238E27FC236}">
                <a16:creationId xmlns:a16="http://schemas.microsoft.com/office/drawing/2014/main" id="{380358C3-E7E7-407A-8B0F-EEA9AE8EFE39}"/>
              </a:ext>
            </a:extLst>
          </p:cNvPr>
          <p:cNvSpPr txBox="1"/>
          <p:nvPr/>
        </p:nvSpPr>
        <p:spPr>
          <a:xfrm>
            <a:off x="-108520" y="2139702"/>
            <a:ext cx="883095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88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NTEÚDO EXTRA</a:t>
            </a:r>
          </a:p>
        </p:txBody>
      </p:sp>
    </p:spTree>
    <p:extLst>
      <p:ext uri="{BB962C8B-B14F-4D97-AF65-F5344CB8AC3E}">
        <p14:creationId xmlns:p14="http://schemas.microsoft.com/office/powerpoint/2010/main" val="4194412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lipse 12">
            <a:extLst>
              <a:ext uri="{FF2B5EF4-FFF2-40B4-BE49-F238E27FC236}">
                <a16:creationId xmlns:a16="http://schemas.microsoft.com/office/drawing/2014/main" id="{FCF5F85D-8A47-49D4-9B80-713AB5C4AB53}"/>
              </a:ext>
            </a:extLst>
          </p:cNvPr>
          <p:cNvSpPr/>
          <p:nvPr/>
        </p:nvSpPr>
        <p:spPr>
          <a:xfrm>
            <a:off x="5937595" y="731716"/>
            <a:ext cx="3131840" cy="3101341"/>
          </a:xfrm>
          <a:prstGeom prst="ellipse">
            <a:avLst/>
          </a:prstGeom>
          <a:solidFill>
            <a:srgbClr val="C48C00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2A962BB3-373C-4F07-BB96-64906B1A12A1}"/>
              </a:ext>
            </a:extLst>
          </p:cNvPr>
          <p:cNvSpPr/>
          <p:nvPr/>
        </p:nvSpPr>
        <p:spPr>
          <a:xfrm>
            <a:off x="3641496" y="2084095"/>
            <a:ext cx="3131840" cy="3101341"/>
          </a:xfrm>
          <a:prstGeom prst="ellipse">
            <a:avLst/>
          </a:prstGeom>
          <a:solidFill>
            <a:schemeClr val="tx2">
              <a:lumMod val="75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C3D65A66-2AE2-44A9-A9F6-0E0C097975FD}"/>
              </a:ext>
            </a:extLst>
          </p:cNvPr>
          <p:cNvSpPr/>
          <p:nvPr/>
        </p:nvSpPr>
        <p:spPr>
          <a:xfrm>
            <a:off x="2294900" y="116362"/>
            <a:ext cx="3131840" cy="3101341"/>
          </a:xfrm>
          <a:prstGeom prst="ellipse">
            <a:avLst/>
          </a:prstGeom>
          <a:solidFill>
            <a:schemeClr val="accent2">
              <a:lumMod val="40000"/>
              <a:lumOff val="60000"/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9E3575A9-0597-46D8-B4D1-C2792BA31059}"/>
              </a:ext>
            </a:extLst>
          </p:cNvPr>
          <p:cNvSpPr/>
          <p:nvPr/>
        </p:nvSpPr>
        <p:spPr>
          <a:xfrm>
            <a:off x="0" y="1737115"/>
            <a:ext cx="3131840" cy="3101341"/>
          </a:xfrm>
          <a:prstGeom prst="ellipse">
            <a:avLst/>
          </a:prstGeom>
          <a:solidFill>
            <a:schemeClr val="accent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443A2346-0A79-4452-9AE1-20632D685ECA}"/>
              </a:ext>
            </a:extLst>
          </p:cNvPr>
          <p:cNvSpPr/>
          <p:nvPr/>
        </p:nvSpPr>
        <p:spPr>
          <a:xfrm>
            <a:off x="481691" y="1781786"/>
            <a:ext cx="71895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rgbClr val="444444"/>
                </a:solidFill>
                <a:latin typeface="Open Sans"/>
              </a:rPr>
              <a:t>PMI</a:t>
            </a:r>
            <a:endParaRPr lang="pt-BR" sz="1600" b="1" i="0" dirty="0">
              <a:solidFill>
                <a:srgbClr val="444444"/>
              </a:solidFill>
              <a:effectLst/>
              <a:latin typeface="Open Sans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611CDAC8-44C5-45C9-A8D2-C6CE69D9BB02}"/>
              </a:ext>
            </a:extLst>
          </p:cNvPr>
          <p:cNvSpPr/>
          <p:nvPr/>
        </p:nvSpPr>
        <p:spPr>
          <a:xfrm>
            <a:off x="336549" y="2123061"/>
            <a:ext cx="3222104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+mj-lt"/>
              <a:buAutoNum type="arabicPeriod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escopo;</a:t>
            </a:r>
          </a:p>
          <a:p>
            <a:pPr>
              <a:buFont typeface="+mj-lt"/>
              <a:buAutoNum type="arabicPeriod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tempo;</a:t>
            </a:r>
          </a:p>
          <a:p>
            <a:pPr>
              <a:buFont typeface="+mj-lt"/>
              <a:buAutoNum type="arabicPeriod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qualidade;</a:t>
            </a:r>
          </a:p>
          <a:p>
            <a:pPr>
              <a:buFont typeface="+mj-lt"/>
              <a:buAutoNum type="arabicPeriod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custos;</a:t>
            </a:r>
          </a:p>
          <a:p>
            <a:pPr>
              <a:buFont typeface="+mj-lt"/>
              <a:buAutoNum type="arabicPeriod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aquisições;</a:t>
            </a:r>
          </a:p>
          <a:p>
            <a:pPr>
              <a:buFont typeface="+mj-lt"/>
              <a:buAutoNum type="arabicPeriod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comunicações;</a:t>
            </a:r>
          </a:p>
          <a:p>
            <a:pPr>
              <a:buFont typeface="+mj-lt"/>
              <a:buAutoNum type="arabicPeriod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recursos humanos;</a:t>
            </a:r>
          </a:p>
          <a:p>
            <a:pPr>
              <a:buFont typeface="+mj-lt"/>
              <a:buAutoNum type="arabicPeriod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riscos;</a:t>
            </a:r>
          </a:p>
          <a:p>
            <a:pPr>
              <a:buFont typeface="+mj-lt"/>
              <a:buAutoNum type="arabicPeriod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integração;</a:t>
            </a:r>
          </a:p>
          <a:p>
            <a:pPr>
              <a:buFont typeface="+mj-lt"/>
              <a:buAutoNum type="arabicPeriod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relacionamento com stakeholders</a:t>
            </a:r>
            <a:endParaRPr lang="pt-BR" sz="1600" b="0" i="0" dirty="0">
              <a:solidFill>
                <a:srgbClr val="444444"/>
              </a:solidFill>
              <a:effectLst/>
              <a:latin typeface="PT Sans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03869D4F-1AFA-47E2-86D5-1271288A6B47}"/>
              </a:ext>
            </a:extLst>
          </p:cNvPr>
          <p:cNvSpPr/>
          <p:nvPr/>
        </p:nvSpPr>
        <p:spPr>
          <a:xfrm>
            <a:off x="2494565" y="508176"/>
            <a:ext cx="158966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b="1" dirty="0">
                <a:solidFill>
                  <a:srgbClr val="444444"/>
                </a:solidFill>
                <a:latin typeface="Open Sans"/>
              </a:rPr>
              <a:t>Métodos ágeis</a:t>
            </a:r>
            <a:endParaRPr lang="pt-BR" sz="1600" b="1" i="0" dirty="0">
              <a:solidFill>
                <a:srgbClr val="444444"/>
              </a:solidFill>
              <a:effectLst/>
              <a:latin typeface="Open Sans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FAF2DCFF-81A7-4516-AD10-6DB9CAF92F04}"/>
              </a:ext>
            </a:extLst>
          </p:cNvPr>
          <p:cNvSpPr/>
          <p:nvPr/>
        </p:nvSpPr>
        <p:spPr>
          <a:xfrm>
            <a:off x="2494565" y="813918"/>
            <a:ext cx="322210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Não utilizam o planejamento comple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As atividades são organizadas em cicl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Entregas parciais e tomadas de decisões rápidas.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E2D41FA7-C054-4090-99A9-C88548CE3B15}"/>
              </a:ext>
            </a:extLst>
          </p:cNvPr>
          <p:cNvSpPr/>
          <p:nvPr/>
        </p:nvSpPr>
        <p:spPr>
          <a:xfrm>
            <a:off x="5812066" y="2291765"/>
            <a:ext cx="35443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Vinculada à inovação e empati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444444"/>
                </a:solidFill>
                <a:latin typeface="PT Sans"/>
              </a:rPr>
              <a:t>Centrada no cliente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F299F8B9-C180-483B-B910-76BB6254855B}"/>
              </a:ext>
            </a:extLst>
          </p:cNvPr>
          <p:cNvSpPr/>
          <p:nvPr/>
        </p:nvSpPr>
        <p:spPr>
          <a:xfrm>
            <a:off x="6551163" y="1372913"/>
            <a:ext cx="174759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b="1" dirty="0">
                <a:solidFill>
                  <a:srgbClr val="444444"/>
                </a:solidFill>
                <a:latin typeface="Open Sans"/>
              </a:rPr>
              <a:t>Design </a:t>
            </a:r>
            <a:r>
              <a:rPr lang="pt-BR" sz="1600" b="1" dirty="0" err="1">
                <a:solidFill>
                  <a:srgbClr val="444444"/>
                </a:solidFill>
                <a:latin typeface="Open Sans"/>
              </a:rPr>
              <a:t>Thinking</a:t>
            </a:r>
            <a:endParaRPr lang="pt-BR" sz="1600" b="1" i="0" dirty="0">
              <a:solidFill>
                <a:srgbClr val="444444"/>
              </a:solidFill>
              <a:effectLst/>
              <a:latin typeface="Open San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D06E07C8-E7C3-4483-8FC5-661B004C50CA}"/>
              </a:ext>
            </a:extLst>
          </p:cNvPr>
          <p:cNvSpPr/>
          <p:nvPr/>
        </p:nvSpPr>
        <p:spPr>
          <a:xfrm>
            <a:off x="4374110" y="2799211"/>
            <a:ext cx="163057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b="1" dirty="0" err="1">
                <a:solidFill>
                  <a:srgbClr val="444444"/>
                </a:solidFill>
                <a:latin typeface="Open Sans"/>
              </a:rPr>
              <a:t>Lean</a:t>
            </a:r>
            <a:r>
              <a:rPr lang="pt-BR" sz="1600" b="1" dirty="0">
                <a:solidFill>
                  <a:srgbClr val="444444"/>
                </a:solidFill>
                <a:latin typeface="Open Sans"/>
              </a:rPr>
              <a:t> </a:t>
            </a:r>
            <a:r>
              <a:rPr lang="pt-BR" sz="1600" b="1" dirty="0" err="1">
                <a:solidFill>
                  <a:srgbClr val="444444"/>
                </a:solidFill>
                <a:latin typeface="Open Sans"/>
              </a:rPr>
              <a:t>Six</a:t>
            </a:r>
            <a:r>
              <a:rPr lang="pt-BR" sz="1600" b="1" dirty="0">
                <a:solidFill>
                  <a:srgbClr val="444444"/>
                </a:solidFill>
                <a:latin typeface="Open Sans"/>
              </a:rPr>
              <a:t> Sigma</a:t>
            </a:r>
            <a:endParaRPr lang="pt-BR" sz="1600" b="1" i="0" dirty="0">
              <a:solidFill>
                <a:srgbClr val="444444"/>
              </a:solidFill>
              <a:effectLst/>
              <a:latin typeface="Open Sans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D820B3CC-1D76-4FB4-B343-8684B4A83CC2}"/>
              </a:ext>
            </a:extLst>
          </p:cNvPr>
          <p:cNvSpPr/>
          <p:nvPr/>
        </p:nvSpPr>
        <p:spPr>
          <a:xfrm>
            <a:off x="4393633" y="3220800"/>
            <a:ext cx="322210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dirty="0">
                <a:solidFill>
                  <a:srgbClr val="444444"/>
                </a:solidFill>
                <a:latin typeface="PT Sans"/>
              </a:rPr>
              <a:t>D </a:t>
            </a:r>
            <a:r>
              <a:rPr lang="pt-BR" sz="1600" dirty="0" err="1">
                <a:solidFill>
                  <a:srgbClr val="444444"/>
                </a:solidFill>
                <a:latin typeface="PT Sans"/>
              </a:rPr>
              <a:t>efine</a:t>
            </a:r>
            <a:endParaRPr lang="pt-BR" sz="1600" dirty="0">
              <a:solidFill>
                <a:srgbClr val="444444"/>
              </a:solidFill>
              <a:latin typeface="PT Sans"/>
            </a:endParaRPr>
          </a:p>
          <a:p>
            <a:r>
              <a:rPr lang="pt-BR" sz="1600" dirty="0">
                <a:solidFill>
                  <a:srgbClr val="444444"/>
                </a:solidFill>
                <a:latin typeface="PT Sans"/>
              </a:rPr>
              <a:t>M </a:t>
            </a:r>
            <a:r>
              <a:rPr lang="pt-BR" sz="1600" dirty="0" err="1">
                <a:solidFill>
                  <a:srgbClr val="444444"/>
                </a:solidFill>
                <a:latin typeface="PT Sans"/>
              </a:rPr>
              <a:t>easure</a:t>
            </a:r>
            <a:endParaRPr lang="pt-BR" sz="1600" dirty="0">
              <a:solidFill>
                <a:srgbClr val="444444"/>
              </a:solidFill>
              <a:latin typeface="PT Sans"/>
            </a:endParaRPr>
          </a:p>
          <a:p>
            <a:r>
              <a:rPr lang="pt-BR" sz="1600" dirty="0">
                <a:solidFill>
                  <a:srgbClr val="444444"/>
                </a:solidFill>
                <a:latin typeface="PT Sans"/>
              </a:rPr>
              <a:t>A </a:t>
            </a:r>
            <a:r>
              <a:rPr lang="pt-BR" sz="1600" dirty="0" err="1">
                <a:solidFill>
                  <a:srgbClr val="444444"/>
                </a:solidFill>
                <a:latin typeface="PT Sans"/>
              </a:rPr>
              <a:t>nalyse</a:t>
            </a:r>
            <a:endParaRPr lang="pt-BR" sz="1600" dirty="0">
              <a:solidFill>
                <a:srgbClr val="444444"/>
              </a:solidFill>
              <a:latin typeface="PT Sans"/>
            </a:endParaRPr>
          </a:p>
          <a:p>
            <a:r>
              <a:rPr lang="pt-BR" sz="1600" dirty="0">
                <a:solidFill>
                  <a:srgbClr val="444444"/>
                </a:solidFill>
                <a:latin typeface="PT Sans"/>
              </a:rPr>
              <a:t>I </a:t>
            </a:r>
            <a:r>
              <a:rPr lang="pt-BR" sz="1600" dirty="0" err="1">
                <a:solidFill>
                  <a:srgbClr val="444444"/>
                </a:solidFill>
                <a:latin typeface="PT Sans"/>
              </a:rPr>
              <a:t>mprove</a:t>
            </a:r>
            <a:endParaRPr lang="pt-BR" sz="1600" dirty="0">
              <a:solidFill>
                <a:srgbClr val="444444"/>
              </a:solidFill>
              <a:latin typeface="PT Sans"/>
            </a:endParaRPr>
          </a:p>
          <a:p>
            <a:r>
              <a:rPr lang="pt-BR" sz="1600" dirty="0">
                <a:solidFill>
                  <a:srgbClr val="444444"/>
                </a:solidFill>
                <a:latin typeface="PT Sans"/>
              </a:rPr>
              <a:t>C </a:t>
            </a:r>
            <a:r>
              <a:rPr lang="pt-BR" sz="1600" dirty="0" err="1">
                <a:solidFill>
                  <a:srgbClr val="444444"/>
                </a:solidFill>
                <a:latin typeface="PT Sans"/>
              </a:rPr>
              <a:t>control</a:t>
            </a:r>
            <a:endParaRPr lang="pt-BR" sz="1600" dirty="0">
              <a:solidFill>
                <a:srgbClr val="444444"/>
              </a:solidFill>
              <a:latin typeface="PT Sans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380358C3-E7E7-407A-8B0F-EEA9AE8EFE39}"/>
              </a:ext>
            </a:extLst>
          </p:cNvPr>
          <p:cNvSpPr txBox="1"/>
          <p:nvPr/>
        </p:nvSpPr>
        <p:spPr>
          <a:xfrm>
            <a:off x="263095" y="262149"/>
            <a:ext cx="88309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smtClean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odologias</a:t>
            </a:r>
            <a:endParaRPr lang="pt-BR" sz="2000" b="1" dirty="0">
              <a:solidFill>
                <a:schemeClr val="bg2">
                  <a:lumMod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35479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2" grpId="0" animBg="1"/>
      <p:bldP spid="11" grpId="0" animBg="1"/>
      <p:bldP spid="10" grpId="0" animBg="1"/>
      <p:bldP spid="2" grpId="0"/>
      <p:bldP spid="4" grpId="0"/>
      <p:bldP spid="6" grpId="0"/>
      <p:bldP spid="7" grpId="0"/>
      <p:bldP spid="8" grpId="0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aixaDeTexto 13">
            <a:extLst>
              <a:ext uri="{FF2B5EF4-FFF2-40B4-BE49-F238E27FC236}">
                <a16:creationId xmlns:a16="http://schemas.microsoft.com/office/drawing/2014/main" id="{380358C3-E7E7-407A-8B0F-EEA9AE8EFE39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abilidades de um líder de projeto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67544" y="1131590"/>
            <a:ext cx="8352928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</a:rPr>
              <a:t>Bom comunicador</a:t>
            </a:r>
            <a:r>
              <a:rPr lang="pt-BR" sz="1600" dirty="0" smtClean="0"/>
              <a:t>, tanto oralmente quanto por escrito</a:t>
            </a:r>
          </a:p>
          <a:p>
            <a:endParaRPr lang="pt-BR" sz="1600" dirty="0"/>
          </a:p>
          <a:p>
            <a:r>
              <a:rPr lang="pt-BR" sz="2400" b="1" dirty="0" smtClean="0">
                <a:solidFill>
                  <a:schemeClr val="tx2"/>
                </a:solidFill>
              </a:rPr>
              <a:t>Líder</a:t>
            </a:r>
            <a:r>
              <a:rPr lang="pt-BR" sz="1600" dirty="0" smtClean="0"/>
              <a:t>, </a:t>
            </a:r>
            <a:r>
              <a:rPr lang="pt-BR" sz="1600" dirty="0"/>
              <a:t>nada a ver com “chefe”, liderar é motivar, é mostrar como se fez pelo exemplo</a:t>
            </a:r>
            <a:endParaRPr lang="pt-BR" sz="1600" dirty="0" smtClean="0"/>
          </a:p>
          <a:p>
            <a:endParaRPr lang="pt-BR" sz="1600" dirty="0"/>
          </a:p>
          <a:p>
            <a:r>
              <a:rPr lang="pt-BR" sz="2400" b="1" dirty="0">
                <a:solidFill>
                  <a:schemeClr val="tx2"/>
                </a:solidFill>
              </a:rPr>
              <a:t>Organizado</a:t>
            </a:r>
            <a:r>
              <a:rPr lang="pt-BR" sz="1600" dirty="0" smtClean="0"/>
              <a:t>, sabe onde está cada informação quando precisa</a:t>
            </a:r>
          </a:p>
          <a:p>
            <a:endParaRPr lang="pt-BR" sz="1600" dirty="0"/>
          </a:p>
          <a:p>
            <a:r>
              <a:rPr lang="pt-BR" sz="2400" b="1" dirty="0">
                <a:solidFill>
                  <a:schemeClr val="tx2"/>
                </a:solidFill>
              </a:rPr>
              <a:t>Negociador</a:t>
            </a:r>
            <a:r>
              <a:rPr lang="pt-BR" sz="1600" dirty="0" smtClean="0"/>
              <a:t>, não ser um “tirano” ou um “fraco”</a:t>
            </a:r>
          </a:p>
          <a:p>
            <a:endParaRPr lang="pt-BR" sz="1600" dirty="0"/>
          </a:p>
          <a:p>
            <a:r>
              <a:rPr lang="pt-BR" sz="2400" b="1" dirty="0">
                <a:solidFill>
                  <a:schemeClr val="tx2"/>
                </a:solidFill>
              </a:rPr>
              <a:t>Desembaraçado</a:t>
            </a:r>
            <a:r>
              <a:rPr lang="pt-BR" sz="1600" dirty="0" smtClean="0"/>
              <a:t>, tomando iniciativas e sendo </a:t>
            </a:r>
            <a:r>
              <a:rPr lang="pt-BR" sz="1600" dirty="0" err="1" smtClean="0"/>
              <a:t>pró-ativo</a:t>
            </a:r>
            <a:endParaRPr lang="pt-BR" sz="1600" dirty="0" smtClean="0"/>
          </a:p>
          <a:p>
            <a:endParaRPr lang="pt-BR" sz="1600" dirty="0"/>
          </a:p>
          <a:p>
            <a:r>
              <a:rPr lang="pt-BR" sz="2400" b="1" dirty="0">
                <a:solidFill>
                  <a:schemeClr val="tx2"/>
                </a:solidFill>
              </a:rPr>
              <a:t>Ético</a:t>
            </a:r>
            <a:r>
              <a:rPr lang="pt-BR" sz="1600" dirty="0"/>
              <a:t>, </a:t>
            </a:r>
            <a:r>
              <a:rPr lang="pt-BR" sz="1600" dirty="0" smtClean="0"/>
              <a:t>respeitando </a:t>
            </a:r>
            <a:r>
              <a:rPr lang="pt-BR" sz="1600" dirty="0"/>
              <a:t>as regras de conduta da profissão e as normas do </a:t>
            </a:r>
            <a:r>
              <a:rPr lang="pt-BR" sz="1600" dirty="0" smtClean="0"/>
              <a:t>grupo</a:t>
            </a:r>
            <a:endParaRPr lang="pt-BR" sz="1600" dirty="0"/>
          </a:p>
          <a:p>
            <a:endParaRPr lang="pt-BR" sz="1600" dirty="0" smtClean="0"/>
          </a:p>
          <a:p>
            <a:endParaRPr lang="pt-BR" sz="1600" dirty="0"/>
          </a:p>
          <a:p>
            <a:endParaRPr lang="en-US" sz="1600" dirty="0"/>
          </a:p>
        </p:txBody>
      </p:sp>
      <p:pic>
        <p:nvPicPr>
          <p:cNvPr id="22530" name="Picture 2" descr="Resultado de imagem para lead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2906" y="442056"/>
            <a:ext cx="977566" cy="977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7818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aixaDeTexto 13">
            <a:extLst>
              <a:ext uri="{FF2B5EF4-FFF2-40B4-BE49-F238E27FC236}">
                <a16:creationId xmlns:a16="http://schemas.microsoft.com/office/drawing/2014/main" id="{380358C3-E7E7-407A-8B0F-EEA9AE8EFE39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m bom time de projeto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521550" y="469796"/>
            <a:ext cx="8207375" cy="489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Wingdings 2" pitchFamily="18" charset="2"/>
              <a:buChar char="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 2" pitchFamily="18" charset="2"/>
              <a:buChar char="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indent="-442913" fontAlgn="auto"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AutoNum type="arabicPeriod"/>
            </a:pPr>
            <a:r>
              <a:rPr lang="pt-BR" altLang="pt-BR" sz="2800" dirty="0" smtClean="0">
                <a:solidFill>
                  <a:srgbClr val="000000"/>
                </a:solidFill>
                <a:latin typeface="Verdana" panose="020B0604030504040204" pitchFamily="34" charset="0"/>
              </a:rPr>
              <a:t>Respeito mútuo;</a:t>
            </a:r>
          </a:p>
          <a:p>
            <a:pPr marL="442913" indent="-442913" fontAlgn="auto"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AutoNum type="arabicPeriod"/>
            </a:pPr>
            <a:r>
              <a:rPr lang="pt-BR" altLang="pt-BR" sz="2800" dirty="0" smtClean="0">
                <a:solidFill>
                  <a:srgbClr val="000000"/>
                </a:solidFill>
                <a:latin typeface="Verdana" panose="020B0604030504040204" pitchFamily="34" charset="0"/>
              </a:rPr>
              <a:t>Confiança requer transparência;</a:t>
            </a:r>
          </a:p>
          <a:p>
            <a:pPr marL="442913" indent="-442913" fontAlgn="auto"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AutoNum type="arabicPeriod"/>
            </a:pPr>
            <a:r>
              <a:rPr lang="pt-BR" altLang="pt-BR" sz="2800" dirty="0" smtClean="0">
                <a:solidFill>
                  <a:srgbClr val="000000"/>
                </a:solidFill>
                <a:latin typeface="Verdana" panose="020B0604030504040204" pitchFamily="34" charset="0"/>
              </a:rPr>
              <a:t>Ética de convivência: Justiça e Lealdade;</a:t>
            </a:r>
          </a:p>
          <a:p>
            <a:pPr marL="442913" indent="-442913" fontAlgn="auto"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AutoNum type="arabicPeriod"/>
            </a:pPr>
            <a:r>
              <a:rPr lang="pt-BR" altLang="pt-BR" sz="2800" dirty="0" smtClean="0">
                <a:solidFill>
                  <a:srgbClr val="000000"/>
                </a:solidFill>
                <a:latin typeface="Verdana" panose="020B0604030504040204" pitchFamily="34" charset="0"/>
              </a:rPr>
              <a:t>Consideração: ouvir ativamente;</a:t>
            </a:r>
          </a:p>
          <a:p>
            <a:pPr marL="442913" indent="-442913" fontAlgn="auto"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AutoNum type="arabicPeriod"/>
            </a:pPr>
            <a:r>
              <a:rPr lang="pt-BR" altLang="pt-BR" sz="2800" dirty="0" smtClean="0">
                <a:solidFill>
                  <a:srgbClr val="000000"/>
                </a:solidFill>
                <a:latin typeface="Verdana" panose="020B0604030504040204" pitchFamily="34" charset="0"/>
              </a:rPr>
              <a:t>Comunicação: </a:t>
            </a:r>
          </a:p>
          <a:p>
            <a:pPr marL="803275" lvl="1" indent="-360363" fontAlgn="auto"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t-BR" altLang="pt-BR" dirty="0" smtClean="0">
                <a:solidFill>
                  <a:srgbClr val="000000"/>
                </a:solidFill>
                <a:latin typeface="Verdana" panose="020B0604030504040204" pitchFamily="34" charset="0"/>
              </a:rPr>
              <a:t>Autêntica (sem hipocrisia e falsidade);</a:t>
            </a:r>
          </a:p>
          <a:p>
            <a:pPr marL="803275" lvl="1" indent="-360363" fontAlgn="auto"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t-BR" altLang="pt-BR" dirty="0" smtClean="0">
                <a:solidFill>
                  <a:srgbClr val="000000"/>
                </a:solidFill>
                <a:latin typeface="Verdana" panose="020B0604030504040204" pitchFamily="34" charset="0"/>
              </a:rPr>
              <a:t>Troca de feedback (verdadeiro e constante).</a:t>
            </a:r>
            <a:endParaRPr lang="pt-BR" altLang="pt-BR" dirty="0" smtClean="0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058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aixaDeTexto 13">
            <a:extLst>
              <a:ext uri="{FF2B5EF4-FFF2-40B4-BE49-F238E27FC236}">
                <a16:creationId xmlns:a16="http://schemas.microsoft.com/office/drawing/2014/main" id="{380358C3-E7E7-407A-8B0F-EEA9AE8EFE39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m bom time de projeto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468313" y="1027176"/>
            <a:ext cx="8207375" cy="4193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Wingdings 2" pitchFamily="18" charset="2"/>
              <a:buChar char="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 2" pitchFamily="18" charset="2"/>
              <a:buChar char="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indent="-442913" fontAlgn="auto">
              <a:spcBef>
                <a:spcPts val="0"/>
              </a:spcBef>
              <a:spcAft>
                <a:spcPts val="1500"/>
              </a:spcAft>
              <a:buFont typeface="Wingdings" panose="05000000000000000000" pitchFamily="2" charset="2"/>
              <a:buNone/>
            </a:pPr>
            <a:r>
              <a:rPr lang="pt-BR" altLang="pt-BR" sz="2800" smtClean="0">
                <a:solidFill>
                  <a:srgbClr val="000000"/>
                </a:solidFill>
                <a:latin typeface="Verdana" panose="020B0604030504040204" pitchFamily="34" charset="0"/>
              </a:rPr>
              <a:t>6. Empatia: colocar-se e sentir como o outro;</a:t>
            </a:r>
          </a:p>
          <a:p>
            <a:pPr marL="442913" indent="-442913" fontAlgn="auto">
              <a:spcBef>
                <a:spcPts val="0"/>
              </a:spcBef>
              <a:spcAft>
                <a:spcPts val="1500"/>
              </a:spcAft>
              <a:buFont typeface="Wingdings" panose="05000000000000000000" pitchFamily="2" charset="2"/>
              <a:buNone/>
            </a:pPr>
            <a:r>
              <a:rPr lang="pt-BR" altLang="pt-BR" sz="2800" smtClean="0">
                <a:solidFill>
                  <a:srgbClr val="000000"/>
                </a:solidFill>
                <a:latin typeface="Verdana" panose="020B0604030504040204" pitchFamily="34" charset="0"/>
              </a:rPr>
              <a:t>7. Sinergia: </a:t>
            </a:r>
          </a:p>
          <a:p>
            <a:pPr marL="900112" lvl="1" indent="-457200" fontAlgn="auto">
              <a:spcBef>
                <a:spcPts val="0"/>
              </a:spcBef>
              <a:spcAft>
                <a:spcPts val="1500"/>
              </a:spcAft>
              <a:buFont typeface="Wingdings" panose="05000000000000000000" pitchFamily="2" charset="2"/>
              <a:buChar char="ü"/>
            </a:pPr>
            <a:r>
              <a:rPr lang="pt-BR" altLang="pt-BR" smtClean="0">
                <a:solidFill>
                  <a:srgbClr val="000000"/>
                </a:solidFill>
                <a:latin typeface="Verdana" panose="020B0604030504040204" pitchFamily="34" charset="0"/>
              </a:rPr>
              <a:t>Dar o seu melhor, reciprocamente;</a:t>
            </a:r>
          </a:p>
          <a:p>
            <a:pPr marL="900112" lvl="1" indent="-457200" fontAlgn="auto">
              <a:spcBef>
                <a:spcPts val="0"/>
              </a:spcBef>
              <a:spcAft>
                <a:spcPts val="1500"/>
              </a:spcAft>
              <a:buFont typeface="Wingdings" panose="05000000000000000000" pitchFamily="2" charset="2"/>
              <a:buChar char="ü"/>
            </a:pPr>
            <a:r>
              <a:rPr lang="pt-BR" altLang="pt-BR" smtClean="0">
                <a:solidFill>
                  <a:srgbClr val="FF0000"/>
                </a:solidFill>
                <a:latin typeface="Verdana" panose="020B0604030504040204" pitchFamily="34" charset="0"/>
              </a:rPr>
              <a:t>Compensar Fraquezas com Forças de outros.</a:t>
            </a:r>
          </a:p>
          <a:p>
            <a:pPr marL="442913" indent="-442913" fontAlgn="auto">
              <a:spcBef>
                <a:spcPts val="0"/>
              </a:spcBef>
              <a:spcAft>
                <a:spcPts val="1500"/>
              </a:spcAft>
              <a:buFont typeface="Wingdings" panose="05000000000000000000" pitchFamily="2" charset="2"/>
              <a:buNone/>
            </a:pPr>
            <a:r>
              <a:rPr lang="pt-BR" altLang="pt-BR" sz="2800" smtClean="0">
                <a:solidFill>
                  <a:srgbClr val="000000"/>
                </a:solidFill>
                <a:latin typeface="Verdana" panose="020B0604030504040204" pitchFamily="34" charset="0"/>
              </a:rPr>
              <a:t>8. Vínculos duradouros;</a:t>
            </a:r>
          </a:p>
          <a:p>
            <a:pPr marL="442913" indent="-442913" fontAlgn="auto">
              <a:spcBef>
                <a:spcPts val="0"/>
              </a:spcBef>
              <a:spcAft>
                <a:spcPts val="1500"/>
              </a:spcAft>
              <a:buFont typeface="Wingdings" panose="05000000000000000000" pitchFamily="2" charset="2"/>
              <a:buNone/>
            </a:pPr>
            <a:r>
              <a:rPr lang="pt-BR" altLang="pt-BR" sz="2800" smtClean="0">
                <a:solidFill>
                  <a:srgbClr val="000000"/>
                </a:solidFill>
                <a:latin typeface="Verdana" panose="020B0604030504040204" pitchFamily="34" charset="0"/>
              </a:rPr>
              <a:t>9. Reconhecer e Comemorar.</a:t>
            </a:r>
            <a:endParaRPr lang="pt-BR" altLang="pt-BR" sz="2800" dirty="0" smtClean="0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5902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aixaDeTexto 13">
            <a:extLst>
              <a:ext uri="{FF2B5EF4-FFF2-40B4-BE49-F238E27FC236}">
                <a16:creationId xmlns:a16="http://schemas.microsoft.com/office/drawing/2014/main" id="{380358C3-E7E7-407A-8B0F-EEA9AE8EFE39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ntando um time de projeto</a:t>
            </a:r>
          </a:p>
        </p:txBody>
      </p:sp>
      <p:sp>
        <p:nvSpPr>
          <p:cNvPr id="15" name="Espaço Reservado para Conteúdo 2"/>
          <p:cNvSpPr txBox="1">
            <a:spLocks/>
          </p:cNvSpPr>
          <p:nvPr/>
        </p:nvSpPr>
        <p:spPr bwMode="auto">
          <a:xfrm>
            <a:off x="277428" y="716154"/>
            <a:ext cx="8244148" cy="3871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15975" indent="-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ts val="34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pt-BR" altLang="pt-BR" sz="2000" b="1" dirty="0">
                <a:solidFill>
                  <a:srgbClr val="000000"/>
                </a:solidFill>
                <a:latin typeface="Verdana" panose="020B0604030504040204" pitchFamily="34" charset="0"/>
              </a:rPr>
              <a:t>Terra:</a:t>
            </a:r>
          </a:p>
          <a:p>
            <a:pPr lvl="1" eaLnBrk="1" hangingPunct="1">
              <a:lnSpc>
                <a:spcPts val="33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pt-BR" altLang="pt-BR" sz="2000" dirty="0">
                <a:solidFill>
                  <a:srgbClr val="000000"/>
                </a:solidFill>
                <a:latin typeface="Verdana" panose="020B0604030504040204" pitchFamily="34" charset="0"/>
              </a:rPr>
              <a:t>Firmes, “pés no chão”;</a:t>
            </a:r>
          </a:p>
          <a:p>
            <a:pPr lvl="1" eaLnBrk="1" hangingPunct="1">
              <a:lnSpc>
                <a:spcPts val="33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pt-BR" altLang="pt-BR" sz="2000" dirty="0">
                <a:solidFill>
                  <a:srgbClr val="000000"/>
                </a:solidFill>
                <a:latin typeface="Verdana" panose="020B0604030504040204" pitchFamily="34" charset="0"/>
              </a:rPr>
              <a:t>Realistas, objetivos, concretos, produtivos;</a:t>
            </a:r>
          </a:p>
          <a:p>
            <a:pPr lvl="1" eaLnBrk="1" hangingPunct="1">
              <a:lnSpc>
                <a:spcPts val="33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pt-BR" altLang="pt-BR" sz="2000" dirty="0">
                <a:solidFill>
                  <a:srgbClr val="000000"/>
                </a:solidFill>
                <a:latin typeface="Verdana" panose="020B0604030504040204" pitchFamily="34" charset="0"/>
              </a:rPr>
              <a:t>Possessivos, materialistas, apegados a tradições.</a:t>
            </a:r>
          </a:p>
          <a:p>
            <a:pPr eaLnBrk="1" hangingPunct="1">
              <a:lnSpc>
                <a:spcPts val="34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pt-BR" altLang="pt-BR" sz="2000" b="1" dirty="0">
                <a:solidFill>
                  <a:srgbClr val="000000"/>
                </a:solidFill>
                <a:latin typeface="Verdana" panose="020B0604030504040204" pitchFamily="34" charset="0"/>
              </a:rPr>
              <a:t>Água:</a:t>
            </a:r>
          </a:p>
          <a:p>
            <a:pPr lvl="1" eaLnBrk="1" hangingPunct="1">
              <a:lnSpc>
                <a:spcPts val="33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pt-BR" altLang="pt-BR" sz="2000" dirty="0">
                <a:solidFill>
                  <a:srgbClr val="000000"/>
                </a:solidFill>
                <a:latin typeface="Verdana" panose="020B0604030504040204" pitchFamily="34" charset="0"/>
              </a:rPr>
              <a:t>Captam o coletivo, intuitivos, sensíveis, </a:t>
            </a:r>
            <a:r>
              <a:rPr lang="pt-BR" altLang="pt-BR" sz="2000" dirty="0" smtClean="0">
                <a:solidFill>
                  <a:srgbClr val="000000"/>
                </a:solidFill>
                <a:latin typeface="Verdana" panose="020B0604030504040204" pitchFamily="34" charset="0"/>
              </a:rPr>
              <a:t>introspectivos;</a:t>
            </a:r>
            <a:endParaRPr lang="pt-BR" altLang="pt-BR" sz="2000" dirty="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pPr lvl="1" eaLnBrk="1" hangingPunct="1">
              <a:lnSpc>
                <a:spcPts val="33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pt-PT" altLang="pt-BR" sz="2000" dirty="0">
                <a:solidFill>
                  <a:srgbClr val="000000"/>
                </a:solidFill>
                <a:latin typeface="Verdana" panose="020B0604030504040204" pitchFamily="34" charset="0"/>
              </a:rPr>
              <a:t>Integram, animam e apoiam pessoas;</a:t>
            </a:r>
          </a:p>
          <a:p>
            <a:pPr lvl="1" eaLnBrk="1" hangingPunct="1">
              <a:lnSpc>
                <a:spcPts val="33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pt-BR" altLang="pt-BR" sz="2000" dirty="0">
                <a:solidFill>
                  <a:srgbClr val="000000"/>
                </a:solidFill>
                <a:latin typeface="Verdana" panose="020B0604030504040204" pitchFamily="34" charset="0"/>
              </a:rPr>
              <a:t>Moldam-se, conformam-se.</a:t>
            </a:r>
          </a:p>
        </p:txBody>
      </p:sp>
      <p:pic>
        <p:nvPicPr>
          <p:cNvPr id="16" name="Picture 2" descr="http://www.algartech.com/File/News/Image/pt-br/1144/News_114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2" t="17975" r="3397"/>
          <a:stretch>
            <a:fillRect/>
          </a:stretch>
        </p:blipFill>
        <p:spPr bwMode="auto">
          <a:xfrm>
            <a:off x="6826188" y="342878"/>
            <a:ext cx="20066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0714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aixaDeTexto 13">
            <a:extLst>
              <a:ext uri="{FF2B5EF4-FFF2-40B4-BE49-F238E27FC236}">
                <a16:creationId xmlns:a16="http://schemas.microsoft.com/office/drawing/2014/main" id="{380358C3-E7E7-407A-8B0F-EEA9AE8EFE39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ntando um time de projeto</a:t>
            </a:r>
          </a:p>
        </p:txBody>
      </p:sp>
      <p:pic>
        <p:nvPicPr>
          <p:cNvPr id="16" name="Picture 2" descr="http://www.algartech.com/File/News/Image/pt-br/1144/News_114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2" t="17975" r="3397"/>
          <a:stretch>
            <a:fillRect/>
          </a:stretch>
        </p:blipFill>
        <p:spPr bwMode="auto">
          <a:xfrm>
            <a:off x="6826188" y="342878"/>
            <a:ext cx="20066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ço Reservado para Conteúdo 2"/>
          <p:cNvSpPr txBox="1">
            <a:spLocks/>
          </p:cNvSpPr>
          <p:nvPr/>
        </p:nvSpPr>
        <p:spPr bwMode="auto">
          <a:xfrm>
            <a:off x="292567" y="866098"/>
            <a:ext cx="8207375" cy="4824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Wingdings 2" pitchFamily="18" charset="2"/>
              <a:buChar char="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 2" pitchFamily="18" charset="2"/>
              <a:buChar char="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BR" altLang="pt-BR" sz="2000" b="1" dirty="0" smtClean="0">
                <a:solidFill>
                  <a:srgbClr val="000000"/>
                </a:solidFill>
                <a:latin typeface="Verdana" panose="020B0604030504040204" pitchFamily="34" charset="0"/>
              </a:rPr>
              <a:t>Ar:</a:t>
            </a:r>
          </a:p>
          <a:p>
            <a:pPr marL="815975" lvl="1" indent="-457200" fontAlgn="auto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2000" dirty="0" smtClean="0">
                <a:solidFill>
                  <a:srgbClr val="000000"/>
                </a:solidFill>
                <a:latin typeface="Verdana" panose="020B0604030504040204" pitchFamily="34" charset="0"/>
              </a:rPr>
              <a:t>Mentais, focados no pensamento;</a:t>
            </a:r>
          </a:p>
          <a:p>
            <a:pPr marL="815975" lvl="1" indent="-457200" fontAlgn="auto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2000" dirty="0" smtClean="0">
                <a:solidFill>
                  <a:srgbClr val="000000"/>
                </a:solidFill>
                <a:latin typeface="Verdana" panose="020B0604030504040204" pitchFamily="34" charset="0"/>
              </a:rPr>
              <a:t>Visionários, sonhadores;</a:t>
            </a:r>
          </a:p>
          <a:p>
            <a:pPr marL="815975" lvl="1" indent="-457200" fontAlgn="auto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2000" dirty="0" smtClean="0">
                <a:solidFill>
                  <a:srgbClr val="000000"/>
                </a:solidFill>
                <a:latin typeface="Verdana" panose="020B0604030504040204" pitchFamily="34" charset="0"/>
              </a:rPr>
              <a:t>Bons comunicadores, influentes.</a:t>
            </a:r>
          </a:p>
          <a:p>
            <a:pPr fontAlgn="auto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BR" altLang="pt-BR" sz="2000" b="1" dirty="0" smtClean="0">
                <a:solidFill>
                  <a:srgbClr val="000000"/>
                </a:solidFill>
                <a:latin typeface="Verdana" panose="020B0604030504040204" pitchFamily="34" charset="0"/>
              </a:rPr>
              <a:t>Fogo:</a:t>
            </a:r>
          </a:p>
          <a:p>
            <a:pPr marL="815975" lvl="1" indent="-457200" fontAlgn="auto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2000" dirty="0" smtClean="0">
                <a:solidFill>
                  <a:srgbClr val="000000"/>
                </a:solidFill>
                <a:latin typeface="Verdana" panose="020B0604030504040204" pitchFamily="34" charset="0"/>
              </a:rPr>
              <a:t>Geram calor, aquecem, iluminam;</a:t>
            </a:r>
          </a:p>
          <a:p>
            <a:pPr marL="815975" lvl="1" indent="-457200" fontAlgn="auto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2000" dirty="0" smtClean="0">
                <a:solidFill>
                  <a:srgbClr val="000000"/>
                </a:solidFill>
                <a:latin typeface="Verdana" panose="020B0604030504040204" pitchFamily="34" charset="0"/>
              </a:rPr>
              <a:t>Movidos a paixões, tomam iniciativas;</a:t>
            </a:r>
          </a:p>
          <a:p>
            <a:pPr marL="815975" lvl="1" indent="-457200" fontAlgn="auto">
              <a:lnSpc>
                <a:spcPts val="33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sz="2000" dirty="0" smtClean="0">
                <a:solidFill>
                  <a:srgbClr val="000000"/>
                </a:solidFill>
                <a:latin typeface="Verdana" panose="020B0604030504040204" pitchFamily="34" charset="0"/>
              </a:rPr>
              <a:t>Superam obstáculos, dominam, devastam.</a:t>
            </a:r>
            <a:endParaRPr lang="pt-BR" altLang="pt-BR" sz="2000" dirty="0" smtClean="0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5963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aixaDeTexto 13">
            <a:extLst>
              <a:ext uri="{FF2B5EF4-FFF2-40B4-BE49-F238E27FC236}">
                <a16:creationId xmlns:a16="http://schemas.microsoft.com/office/drawing/2014/main" id="{380358C3-E7E7-407A-8B0F-EEA9AE8EFE39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ntando um time de projeto</a:t>
            </a:r>
          </a:p>
        </p:txBody>
      </p:sp>
      <p:pic>
        <p:nvPicPr>
          <p:cNvPr id="16" name="Picture 2" descr="http://www.algartech.com/File/News/Image/pt-br/1144/News_114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2" t="17975" r="3397"/>
          <a:stretch>
            <a:fillRect/>
          </a:stretch>
        </p:blipFill>
        <p:spPr bwMode="auto">
          <a:xfrm>
            <a:off x="6826188" y="342878"/>
            <a:ext cx="20066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907704" y="1851670"/>
            <a:ext cx="460851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Quem você é ?</a:t>
            </a:r>
          </a:p>
          <a:p>
            <a:pPr algn="ctr"/>
            <a:endParaRPr lang="pt-BR" sz="2800" dirty="0"/>
          </a:p>
          <a:p>
            <a:pPr algn="ctr"/>
            <a:r>
              <a:rPr lang="pt-BR" sz="2800" dirty="0" smtClean="0"/>
              <a:t>1 minuto para pensar..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832582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aixaDeTexto 13">
            <a:extLst>
              <a:ext uri="{FF2B5EF4-FFF2-40B4-BE49-F238E27FC236}">
                <a16:creationId xmlns:a16="http://schemas.microsoft.com/office/drawing/2014/main" id="{380358C3-E7E7-407A-8B0F-EEA9AE8EFE39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ntando um time de projeto</a:t>
            </a:r>
          </a:p>
        </p:txBody>
      </p:sp>
      <p:pic>
        <p:nvPicPr>
          <p:cNvPr id="16" name="Picture 2" descr="http://www.algartech.com/File/News/Image/pt-br/1144/News_114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2" t="17975" r="3397"/>
          <a:stretch>
            <a:fillRect/>
          </a:stretch>
        </p:blipFill>
        <p:spPr bwMode="auto">
          <a:xfrm>
            <a:off x="6826188" y="342878"/>
            <a:ext cx="20066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Group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4331874"/>
              </p:ext>
            </p:extLst>
          </p:nvPr>
        </p:nvGraphicFramePr>
        <p:xfrm>
          <a:off x="467544" y="1491630"/>
          <a:ext cx="8064500" cy="2952750"/>
        </p:xfrm>
        <a:graphic>
          <a:graphicData uri="http://schemas.openxmlformats.org/drawingml/2006/table">
            <a:tbl>
              <a:tblPr/>
              <a:tblGrid>
                <a:gridCol w="40330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31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527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1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mo meu Elemento </a:t>
                      </a:r>
                      <a:r>
                        <a:rPr kumimoji="1" lang="pt-BR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ntribui</a:t>
                      </a:r>
                      <a:r>
                        <a:rPr kumimoji="1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para o projeto (forças e vantagens):</a:t>
                      </a:r>
                    </a:p>
                  </a:txBody>
                  <a:tcPr marL="95362" marR="95362" marT="45734" marB="45734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1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Como meu Elemento </a:t>
                      </a:r>
                      <a:r>
                        <a:rPr kumimoji="1" lang="pt-BR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atrapalha</a:t>
                      </a:r>
                      <a:r>
                        <a:rPr kumimoji="1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 em projetos (fraquezas e desvantagens):</a:t>
                      </a:r>
                    </a:p>
                  </a:txBody>
                  <a:tcPr marL="95362" marR="95362" marT="45734" marB="45734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8671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2" descr="Resultado de imagem para Thanks">
            <a:extLst>
              <a:ext uri="{FF2B5EF4-FFF2-40B4-BE49-F238E27FC236}">
                <a16:creationId xmlns:a16="http://schemas.microsoft.com/office/drawing/2014/main" id="{0B5C9C40-EBA8-487E-9ED0-39F28D5E48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6575" y="1804988"/>
            <a:ext cx="2990850" cy="1533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8685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>
            <a:extLst>
              <a:ext uri="{FF2B5EF4-FFF2-40B4-BE49-F238E27FC236}">
                <a16:creationId xmlns:a16="http://schemas.microsoft.com/office/drawing/2014/main" id="{9D7AA8A5-CE4D-4356-A8AE-F9C1DF44A325}"/>
              </a:ext>
            </a:extLst>
          </p:cNvPr>
          <p:cNvSpPr txBox="1"/>
          <p:nvPr/>
        </p:nvSpPr>
        <p:spPr>
          <a:xfrm>
            <a:off x="313046" y="208186"/>
            <a:ext cx="8830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2">
                    <a:lumMod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mos ver se entenderam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27C6FA7E-37F9-4889-9836-560FBF3D8EDA}"/>
              </a:ext>
            </a:extLst>
          </p:cNvPr>
          <p:cNvSpPr txBox="1"/>
          <p:nvPr/>
        </p:nvSpPr>
        <p:spPr>
          <a:xfrm>
            <a:off x="319942" y="1712009"/>
            <a:ext cx="2098714" cy="58477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latin typeface="Verdana" panose="020B0604030504040204" pitchFamily="34" charset="0"/>
                <a:ea typeface="Verdana" panose="020B0604030504040204" pitchFamily="34" charset="0"/>
              </a:rPr>
              <a:t>Desenvolver um APP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0DE2EB07-377F-4A8D-B94D-1FDB17208FB1}"/>
              </a:ext>
            </a:extLst>
          </p:cNvPr>
          <p:cNvSpPr txBox="1"/>
          <p:nvPr/>
        </p:nvSpPr>
        <p:spPr>
          <a:xfrm>
            <a:off x="2915816" y="2571750"/>
            <a:ext cx="2098714" cy="33855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latin typeface="Verdana" panose="020B0604030504040204" pitchFamily="34" charset="0"/>
                <a:ea typeface="Verdana" panose="020B0604030504040204" pitchFamily="34" charset="0"/>
              </a:rPr>
              <a:t>Cotação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22391C93-B326-4C0E-80A4-E809A8526E32}"/>
              </a:ext>
            </a:extLst>
          </p:cNvPr>
          <p:cNvSpPr txBox="1"/>
          <p:nvPr/>
        </p:nvSpPr>
        <p:spPr>
          <a:xfrm>
            <a:off x="313046" y="3277387"/>
            <a:ext cx="2098714" cy="33855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latin typeface="Verdana" panose="020B0604030504040204" pitchFamily="34" charset="0"/>
                <a:ea typeface="Verdana" panose="020B0604030504040204" pitchFamily="34" charset="0"/>
              </a:rPr>
              <a:t>Pedidos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3BB0EA9E-303D-4F15-87CB-4C40DDC76642}"/>
              </a:ext>
            </a:extLst>
          </p:cNvPr>
          <p:cNvSpPr txBox="1"/>
          <p:nvPr/>
        </p:nvSpPr>
        <p:spPr>
          <a:xfrm>
            <a:off x="6012160" y="1737524"/>
            <a:ext cx="2098714" cy="58477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latin typeface="Verdana" panose="020B0604030504040204" pitchFamily="34" charset="0"/>
                <a:ea typeface="Verdana" panose="020B0604030504040204" pitchFamily="34" charset="0"/>
              </a:rPr>
              <a:t>Novo reator para a fábrica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5B2FB10D-3001-4814-9CF8-2B6CEC28EAFF}"/>
              </a:ext>
            </a:extLst>
          </p:cNvPr>
          <p:cNvSpPr txBox="1"/>
          <p:nvPr/>
        </p:nvSpPr>
        <p:spPr>
          <a:xfrm>
            <a:off x="5364088" y="3939902"/>
            <a:ext cx="2098714" cy="33855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latin typeface="Verdana" panose="020B0604030504040204" pitchFamily="34" charset="0"/>
                <a:ea typeface="Verdana" panose="020B0604030504040204" pitchFamily="34" charset="0"/>
              </a:rPr>
              <a:t>CRM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2077D1CE-D022-4429-930D-AD0FD3F74A4A}"/>
              </a:ext>
            </a:extLst>
          </p:cNvPr>
          <p:cNvSpPr txBox="1"/>
          <p:nvPr/>
        </p:nvSpPr>
        <p:spPr>
          <a:xfrm>
            <a:off x="3131841" y="1296765"/>
            <a:ext cx="2098714" cy="58477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latin typeface="Verdana" panose="020B0604030504040204" pitchFamily="34" charset="0"/>
                <a:ea typeface="Verdana" panose="020B0604030504040204" pitchFamily="34" charset="0"/>
              </a:rPr>
              <a:t>Fazer um lanche do Mc </a:t>
            </a:r>
            <a:r>
              <a:rPr lang="pt-BR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Donald’s</a:t>
            </a:r>
            <a:endParaRPr lang="pt-BR"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9458" name="Picture 2" descr="Resultado de imagem para Mc Donalds lanche">
            <a:extLst>
              <a:ext uri="{FF2B5EF4-FFF2-40B4-BE49-F238E27FC236}">
                <a16:creationId xmlns:a16="http://schemas.microsoft.com/office/drawing/2014/main" id="{5253AA64-D2D7-487D-A8C8-12EB353D67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1532" y="1865067"/>
            <a:ext cx="526550" cy="4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aixaDeTexto 14">
            <a:extLst>
              <a:ext uri="{FF2B5EF4-FFF2-40B4-BE49-F238E27FC236}">
                <a16:creationId xmlns:a16="http://schemas.microsoft.com/office/drawing/2014/main" id="{22391C93-B326-4C0E-80A4-E809A8526E32}"/>
              </a:ext>
            </a:extLst>
          </p:cNvPr>
          <p:cNvSpPr txBox="1"/>
          <p:nvPr/>
        </p:nvSpPr>
        <p:spPr>
          <a:xfrm>
            <a:off x="2339752" y="4226637"/>
            <a:ext cx="2098714" cy="58477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latin typeface="Verdana" panose="020B0604030504040204" pitchFamily="34" charset="0"/>
                <a:ea typeface="Verdana" panose="020B0604030504040204" pitchFamily="34" charset="0"/>
              </a:rPr>
              <a:t>Fabricar Óleos e Graxas</a:t>
            </a:r>
          </a:p>
        </p:txBody>
      </p:sp>
    </p:spTree>
    <p:extLst>
      <p:ext uri="{BB962C8B-B14F-4D97-AF65-F5344CB8AC3E}">
        <p14:creationId xmlns:p14="http://schemas.microsoft.com/office/powerpoint/2010/main" val="3397448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4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resentations_16-9_161124">
  <a:themeElements>
    <a:clrScheme name="KL Design">
      <a:dk1>
        <a:srgbClr val="000000"/>
      </a:dk1>
      <a:lt1>
        <a:srgbClr val="FFFFFF"/>
      </a:lt1>
      <a:dk2>
        <a:srgbClr val="000000"/>
      </a:dk2>
      <a:lt2>
        <a:srgbClr val="656567"/>
      </a:lt2>
      <a:accent1>
        <a:srgbClr val="A7A8AA"/>
      </a:accent1>
      <a:accent2>
        <a:srgbClr val="CFD0D2"/>
      </a:accent2>
      <a:accent3>
        <a:srgbClr val="FFFFFF"/>
      </a:accent3>
      <a:accent4>
        <a:srgbClr val="000000"/>
      </a:accent4>
      <a:accent5>
        <a:srgbClr val="D0D1D2"/>
      </a:accent5>
      <a:accent6>
        <a:srgbClr val="BBBCBE"/>
      </a:accent6>
      <a:hlink>
        <a:srgbClr val="646567"/>
      </a:hlink>
      <a:folHlink>
        <a:srgbClr val="FFB8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ＭＳ Ｐゴシック"/>
        <a:cs typeface="Arial"/>
      </a:minorFont>
    </a:fontScheme>
    <a:fmtScheme name="Ananke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ts val="2000"/>
          </a:lnSpc>
          <a:spcBef>
            <a:spcPct val="0"/>
          </a:spcBef>
          <a:spcAft>
            <a:spcPct val="0"/>
          </a:spcAft>
          <a:buClrTx/>
          <a:buSzTx/>
          <a:buFont typeface="Times" pitchFamily="18" charset="0"/>
          <a:buNone/>
          <a:tabLst/>
          <a:defRPr kumimoji="0" lang="de-DE" alt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ts val="2000"/>
          </a:lnSpc>
          <a:spcBef>
            <a:spcPct val="0"/>
          </a:spcBef>
          <a:spcAft>
            <a:spcPct val="0"/>
          </a:spcAft>
          <a:buClrTx/>
          <a:buSzTx/>
          <a:buFont typeface="Times" pitchFamily="18" charset="0"/>
          <a:buNone/>
          <a:tabLst/>
          <a:defRPr kumimoji="0" lang="de-DE" alt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  <a:cs typeface="Arial" charset="0"/>
          </a:defRPr>
        </a:defPPr>
      </a:lstStyle>
    </a:lnDef>
    <a:txDef>
      <a:spPr>
        <a:solidFill>
          <a:srgbClr val="FFC000"/>
        </a:solidFill>
        <a:ln>
          <a:solidFill>
            <a:srgbClr val="FF0000"/>
          </a:solidFill>
        </a:ln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656567"/>
        </a:lt2>
        <a:accent1>
          <a:srgbClr val="A7A8AA"/>
        </a:accent1>
        <a:accent2>
          <a:srgbClr val="CFD0D2"/>
        </a:accent2>
        <a:accent3>
          <a:srgbClr val="FFFFFF"/>
        </a:accent3>
        <a:accent4>
          <a:srgbClr val="000000"/>
        </a:accent4>
        <a:accent5>
          <a:srgbClr val="D0D1D2"/>
        </a:accent5>
        <a:accent6>
          <a:srgbClr val="BBBCBE"/>
        </a:accent6>
        <a:hlink>
          <a:srgbClr val="ECEDED"/>
        </a:hlink>
        <a:folHlink>
          <a:srgbClr val="FFB8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orate_Design_Rules_for_presentations_160915" id="{238E56A8-8F9C-FF4C-A118-F46588D1E355}" vid="{7813D79F-0A8A-E745-8BF1-A8346AA40CB2}"/>
    </a:ext>
  </a:extLst>
</a:theme>
</file>

<file path=ppt/theme/theme2.xml><?xml version="1.0" encoding="utf-8"?>
<a:theme xmlns:a="http://schemas.openxmlformats.org/drawingml/2006/main" name="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PPT_Klüber_Padrão_2016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656567"/>
      </a:lt2>
      <a:accent1>
        <a:srgbClr val="A7A8AA"/>
      </a:accent1>
      <a:accent2>
        <a:srgbClr val="CFD0D2"/>
      </a:accent2>
      <a:accent3>
        <a:srgbClr val="FFFFFF"/>
      </a:accent3>
      <a:accent4>
        <a:srgbClr val="000000"/>
      </a:accent4>
      <a:accent5>
        <a:srgbClr val="D0D1D2"/>
      </a:accent5>
      <a:accent6>
        <a:srgbClr val="BBBCBE"/>
      </a:accent6>
      <a:hlink>
        <a:srgbClr val="ECEDED"/>
      </a:hlink>
      <a:folHlink>
        <a:srgbClr val="FFB8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ＭＳ Ｐゴシック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ts val="2000"/>
          </a:lnSpc>
          <a:spcBef>
            <a:spcPct val="0"/>
          </a:spcBef>
          <a:spcAft>
            <a:spcPct val="0"/>
          </a:spcAft>
          <a:buClrTx/>
          <a:buSzTx/>
          <a:buFont typeface="Times" pitchFamily="18" charset="0"/>
          <a:buNone/>
          <a:tabLst/>
          <a:defRPr kumimoji="0" lang="de-DE" alt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ts val="2000"/>
          </a:lnSpc>
          <a:spcBef>
            <a:spcPct val="0"/>
          </a:spcBef>
          <a:spcAft>
            <a:spcPct val="0"/>
          </a:spcAft>
          <a:buClrTx/>
          <a:buSzTx/>
          <a:buFont typeface="Times" pitchFamily="18" charset="0"/>
          <a:buNone/>
          <a:tabLst/>
          <a:defRPr kumimoji="0" lang="de-DE" alt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  <a:cs typeface="Arial" charset="0"/>
          </a:defRPr>
        </a:defPPr>
      </a:lstStyle>
    </a:ln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656567"/>
        </a:lt2>
        <a:accent1>
          <a:srgbClr val="A7A8AA"/>
        </a:accent1>
        <a:accent2>
          <a:srgbClr val="CFD0D2"/>
        </a:accent2>
        <a:accent3>
          <a:srgbClr val="FFFFFF"/>
        </a:accent3>
        <a:accent4>
          <a:srgbClr val="000000"/>
        </a:accent4>
        <a:accent5>
          <a:srgbClr val="D0D1D2"/>
        </a:accent5>
        <a:accent6>
          <a:srgbClr val="BBBCBE"/>
        </a:accent6>
        <a:hlink>
          <a:srgbClr val="ECEDED"/>
        </a:hlink>
        <a:folHlink>
          <a:srgbClr val="FFB8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orate_Design_Rules_for_presentations_160915" id="{238E56A8-8F9C-FF4C-A118-F46588D1E355}" vid="{7813D79F-0A8A-E745-8BF1-A8346AA40CB2}"/>
    </a:ext>
  </a:extLst>
</a:theme>
</file>

<file path=ppt/theme/theme5.xml><?xml version="1.0" encoding="utf-8"?>
<a:theme xmlns:a="http://schemas.openxmlformats.org/drawingml/2006/main" name="2_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94FD58C78D2814190C2E14FBAF8E4D9" ma:contentTypeVersion="0" ma:contentTypeDescription="Ein neues Dokument erstellen." ma:contentTypeScope="" ma:versionID="f08d5eca864c104f17fd232385643f6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4f5dc90cf06628c3b90945c8266c24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11C7D2-CE28-4885-A6C0-FD723D39DEE3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59F282B-CB5E-437B-B03C-2D42F7EDA1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_Presentations_16-9_161124</Template>
  <TotalTime>642</TotalTime>
  <Words>2488</Words>
  <Application>Microsoft Office PowerPoint</Application>
  <PresentationFormat>On-screen Show (16:9)</PresentationFormat>
  <Paragraphs>792</Paragraphs>
  <Slides>89</Slides>
  <Notes>7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9</vt:i4>
      </vt:variant>
    </vt:vector>
  </HeadingPairs>
  <TitlesOfParts>
    <vt:vector size="107" baseType="lpstr">
      <vt:lpstr>ＭＳ Ｐゴシック</vt:lpstr>
      <vt:lpstr>Arial</vt:lpstr>
      <vt:lpstr>Calibri</vt:lpstr>
      <vt:lpstr>Calibri Light</vt:lpstr>
      <vt:lpstr>Open Sans</vt:lpstr>
      <vt:lpstr>PT Sans</vt:lpstr>
      <vt:lpstr>Symbol</vt:lpstr>
      <vt:lpstr>Times</vt:lpstr>
      <vt:lpstr>Times New Roman</vt:lpstr>
      <vt:lpstr>Verdana</vt:lpstr>
      <vt:lpstr>Wingdings</vt:lpstr>
      <vt:lpstr>Wingdings 2</vt:lpstr>
      <vt:lpstr>Template_Presentations_16-9_161124</vt:lpstr>
      <vt:lpstr>HDOfficeLightV0</vt:lpstr>
      <vt:lpstr>1_HDOfficeLightV0</vt:lpstr>
      <vt:lpstr>PPT_Klüber_Padrão_2016</vt:lpstr>
      <vt:lpstr>2_HDOfficeLightV0</vt:lpstr>
      <vt:lpstr>think-cell Slide</vt:lpstr>
      <vt:lpstr>Noções básicas em Gestão de Projetos Junho/14   Luiz Faccin, PM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oções básicas em Gestão de Projetos Junho/14   Luiz Faccin, PM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isk plan</vt:lpstr>
      <vt:lpstr>PowerPoint Presentation</vt:lpstr>
      <vt:lpstr>PowerPoint Presentation</vt:lpstr>
      <vt:lpstr>PowerPoint Presentation</vt:lpstr>
      <vt:lpstr>Risk and Communication pla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FCS-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title here typesize 32pt, line spacing 28 pt, 2 lines maximum.  Insert subheadhere typesize 16pt</dc:title>
  <dc:creator>Birschel, Jonathan</dc:creator>
  <cp:lastModifiedBy>Luiz Faccin</cp:lastModifiedBy>
  <cp:revision>1076</cp:revision>
  <cp:lastPrinted>2018-06-21T11:19:57Z</cp:lastPrinted>
  <dcterms:created xsi:type="dcterms:W3CDTF">2017-10-09T07:25:42Z</dcterms:created>
  <dcterms:modified xsi:type="dcterms:W3CDTF">2018-06-21T11:37:31Z</dcterms:modified>
</cp:coreProperties>
</file>